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1"/>
  </p:notesMasterIdLst>
  <p:sldIdLst>
    <p:sldId id="267" r:id="rId3"/>
    <p:sldId id="271" r:id="rId4"/>
    <p:sldId id="272" r:id="rId5"/>
    <p:sldId id="285" r:id="rId6"/>
    <p:sldId id="275" r:id="rId7"/>
    <p:sldId id="287" r:id="rId8"/>
    <p:sldId id="291" r:id="rId9"/>
    <p:sldId id="278" r:id="rId10"/>
    <p:sldId id="280" r:id="rId11"/>
    <p:sldId id="288" r:id="rId12"/>
    <p:sldId id="261" r:id="rId13"/>
    <p:sldId id="284" r:id="rId14"/>
    <p:sldId id="282" r:id="rId15"/>
    <p:sldId id="279" r:id="rId16"/>
    <p:sldId id="281" r:id="rId17"/>
    <p:sldId id="289" r:id="rId18"/>
    <p:sldId id="290" r:id="rId19"/>
    <p:sldId id="269" r:id="rId20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E773"/>
    <a:srgbClr val="C1DF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30" autoAdjust="0"/>
    <p:restoredTop sz="94660"/>
  </p:normalViewPr>
  <p:slideViewPr>
    <p:cSldViewPr>
      <p:cViewPr varScale="1">
        <p:scale>
          <a:sx n="89" d="100"/>
          <a:sy n="89" d="100"/>
        </p:scale>
        <p:origin x="-1186" y="-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06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19D78F-C8ED-402C-9116-2A382636B8F9}" type="doc">
      <dgm:prSet loTypeId="urn:microsoft.com/office/officeart/2005/8/layout/pyramid2" loCatId="pyramid" qsTypeId="urn:microsoft.com/office/officeart/2005/8/quickstyle/simple1#4" qsCatId="simple" csTypeId="urn:microsoft.com/office/officeart/2005/8/colors/colorful3" csCatId="colorful" phldr="1"/>
      <dgm:spPr/>
    </dgm:pt>
    <dgm:pt modelId="{915E0521-8ABE-4676-8176-6DF47F5859B5}">
      <dgm:prSet phldrT="[Текст]"/>
      <dgm:spPr/>
      <dgm:t>
        <a:bodyPr/>
        <a:lstStyle/>
        <a:p>
          <a:r>
            <a:rPr lang="ru-RU" dirty="0" smtClean="0"/>
            <a:t>Ключевые партнеры</a:t>
          </a:r>
        </a:p>
        <a:p>
          <a:r>
            <a:rPr lang="en-US" dirty="0" smtClean="0"/>
            <a:t>&gt;100</a:t>
          </a:r>
          <a:r>
            <a:rPr lang="ru-RU" dirty="0" smtClean="0"/>
            <a:t> </a:t>
          </a:r>
        </a:p>
        <a:p>
          <a:r>
            <a:rPr lang="ru-RU" dirty="0" smtClean="0"/>
            <a:t>индивидуальные коммуникации, уникальные соглашения о намереньях </a:t>
          </a:r>
          <a:r>
            <a:rPr lang="en-US" dirty="0" smtClean="0"/>
            <a:t>B2B</a:t>
          </a:r>
          <a:endParaRPr lang="ru-RU" dirty="0"/>
        </a:p>
      </dgm:t>
    </dgm:pt>
    <dgm:pt modelId="{D3C3DB68-D584-4E9A-BA00-406FD1BCDB6C}" type="parTrans" cxnId="{200EA70A-1A90-4346-B1A7-9164F91D4AA9}">
      <dgm:prSet/>
      <dgm:spPr/>
      <dgm:t>
        <a:bodyPr/>
        <a:lstStyle/>
        <a:p>
          <a:endParaRPr lang="ru-RU"/>
        </a:p>
      </dgm:t>
    </dgm:pt>
    <dgm:pt modelId="{5CEE74D7-47E3-45B6-86D1-D80285CC58E5}" type="sibTrans" cxnId="{200EA70A-1A90-4346-B1A7-9164F91D4AA9}">
      <dgm:prSet/>
      <dgm:spPr/>
      <dgm:t>
        <a:bodyPr/>
        <a:lstStyle/>
        <a:p>
          <a:endParaRPr lang="ru-RU"/>
        </a:p>
      </dgm:t>
    </dgm:pt>
    <dgm:pt modelId="{C914D8D3-2EDE-494C-AA4D-B8F7837D6CF1}">
      <dgm:prSet phldrT="[Текст]"/>
      <dgm:spPr/>
      <dgm:t>
        <a:bodyPr/>
        <a:lstStyle/>
        <a:p>
          <a:r>
            <a:rPr lang="ru-RU" dirty="0" smtClean="0"/>
            <a:t>Компании-участники</a:t>
          </a:r>
        </a:p>
        <a:p>
          <a:r>
            <a:rPr lang="en-US" dirty="0" smtClean="0"/>
            <a:t>&gt;1</a:t>
          </a:r>
          <a:r>
            <a:rPr lang="ru-RU" dirty="0" smtClean="0"/>
            <a:t> </a:t>
          </a:r>
          <a:r>
            <a:rPr lang="en-US" dirty="0" smtClean="0"/>
            <a:t>000</a:t>
          </a:r>
          <a:endParaRPr lang="ru-RU" dirty="0" smtClean="0"/>
        </a:p>
        <a:p>
          <a:r>
            <a:rPr lang="ru-RU" dirty="0" smtClean="0"/>
            <a:t>типовые процессы для коммуникаций,  регламенты для грантов и инвестиций</a:t>
          </a:r>
          <a:endParaRPr lang="ru-RU" dirty="0"/>
        </a:p>
      </dgm:t>
    </dgm:pt>
    <dgm:pt modelId="{76916357-CB3D-4FC0-A3EF-62060A6619AB}" type="parTrans" cxnId="{CB69A44E-95F3-4C37-90BE-599EFEFC0F2F}">
      <dgm:prSet/>
      <dgm:spPr/>
      <dgm:t>
        <a:bodyPr/>
        <a:lstStyle/>
        <a:p>
          <a:endParaRPr lang="ru-RU"/>
        </a:p>
      </dgm:t>
    </dgm:pt>
    <dgm:pt modelId="{E018D368-11D1-4192-A0BC-E4D692BDA2DA}" type="sibTrans" cxnId="{CB69A44E-95F3-4C37-90BE-599EFEFC0F2F}">
      <dgm:prSet/>
      <dgm:spPr/>
      <dgm:t>
        <a:bodyPr/>
        <a:lstStyle/>
        <a:p>
          <a:endParaRPr lang="ru-RU"/>
        </a:p>
      </dgm:t>
    </dgm:pt>
    <dgm:pt modelId="{7B549D10-9A71-4A48-B041-16081701598E}">
      <dgm:prSet phldrT="[Текст]"/>
      <dgm:spPr/>
      <dgm:t>
        <a:bodyPr/>
        <a:lstStyle/>
        <a:p>
          <a:r>
            <a:rPr lang="ru-RU" dirty="0" smtClean="0"/>
            <a:t>Интернет аудитория</a:t>
          </a:r>
        </a:p>
        <a:p>
          <a:r>
            <a:rPr lang="en-US" dirty="0" smtClean="0"/>
            <a:t>&gt; 100 000</a:t>
          </a:r>
          <a:endParaRPr lang="ru-RU" dirty="0" smtClean="0"/>
        </a:p>
        <a:p>
          <a:r>
            <a:rPr lang="ru-RU" dirty="0" smtClean="0"/>
            <a:t>коммуникации через онлайн сообщество</a:t>
          </a:r>
          <a:endParaRPr lang="en-US" dirty="0" smtClean="0"/>
        </a:p>
        <a:p>
          <a:r>
            <a:rPr lang="ru-RU" dirty="0" smtClean="0"/>
            <a:t>Персональное финансирование</a:t>
          </a:r>
          <a:endParaRPr lang="ru-RU" dirty="0"/>
        </a:p>
      </dgm:t>
    </dgm:pt>
    <dgm:pt modelId="{26B9F798-4836-408F-BF50-5F55278FF1F9}" type="parTrans" cxnId="{3242BB63-1145-4093-B79A-1A36B6180863}">
      <dgm:prSet/>
      <dgm:spPr/>
      <dgm:t>
        <a:bodyPr/>
        <a:lstStyle/>
        <a:p>
          <a:endParaRPr lang="ru-RU"/>
        </a:p>
      </dgm:t>
    </dgm:pt>
    <dgm:pt modelId="{E94BB383-C187-4F76-AD76-0CE9772B0291}" type="sibTrans" cxnId="{3242BB63-1145-4093-B79A-1A36B6180863}">
      <dgm:prSet/>
      <dgm:spPr/>
      <dgm:t>
        <a:bodyPr/>
        <a:lstStyle/>
        <a:p>
          <a:endParaRPr lang="ru-RU"/>
        </a:p>
      </dgm:t>
    </dgm:pt>
    <dgm:pt modelId="{8F39AB2A-4D6A-4BF6-A5BA-A994FC6EEFB4}" type="pres">
      <dgm:prSet presAssocID="{6C19D78F-C8ED-402C-9116-2A382636B8F9}" presName="compositeShape" presStyleCnt="0">
        <dgm:presLayoutVars>
          <dgm:dir/>
          <dgm:resizeHandles/>
        </dgm:presLayoutVars>
      </dgm:prSet>
      <dgm:spPr/>
    </dgm:pt>
    <dgm:pt modelId="{780A598E-97A5-41F0-8B05-EFCA44FFBB82}" type="pres">
      <dgm:prSet presAssocID="{6C19D78F-C8ED-402C-9116-2A382636B8F9}" presName="pyramid" presStyleLbl="node1" presStyleIdx="0" presStyleCnt="1"/>
      <dgm:spPr/>
    </dgm:pt>
    <dgm:pt modelId="{1960D58E-1A89-4AEB-A385-6DEBD7E0834F}" type="pres">
      <dgm:prSet presAssocID="{6C19D78F-C8ED-402C-9116-2A382636B8F9}" presName="theList" presStyleCnt="0"/>
      <dgm:spPr/>
    </dgm:pt>
    <dgm:pt modelId="{159FE4E9-3425-4137-A71B-35B95AE41B6B}" type="pres">
      <dgm:prSet presAssocID="{915E0521-8ABE-4676-8176-6DF47F5859B5}" presName="aNode" presStyleLbl="f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8EE75E-95F8-4EC8-B469-4FACE6D90081}" type="pres">
      <dgm:prSet presAssocID="{915E0521-8ABE-4676-8176-6DF47F5859B5}" presName="aSpace" presStyleCnt="0"/>
      <dgm:spPr/>
    </dgm:pt>
    <dgm:pt modelId="{452BB841-219D-4568-8F7F-02699D6D6FA6}" type="pres">
      <dgm:prSet presAssocID="{C914D8D3-2EDE-494C-AA4D-B8F7837D6CF1}" presName="aNode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9E2E30-36D2-45AE-8003-F3F489176996}" type="pres">
      <dgm:prSet presAssocID="{C914D8D3-2EDE-494C-AA4D-B8F7837D6CF1}" presName="aSpace" presStyleCnt="0"/>
      <dgm:spPr/>
    </dgm:pt>
    <dgm:pt modelId="{7ECABA1B-BB89-4AA5-8AF4-46FBE0ED3DB6}" type="pres">
      <dgm:prSet presAssocID="{7B549D10-9A71-4A48-B041-16081701598E}" presName="aNode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65A903-1B52-4100-80C8-39A6EBE6A533}" type="pres">
      <dgm:prSet presAssocID="{7B549D10-9A71-4A48-B041-16081701598E}" presName="aSpace" presStyleCnt="0"/>
      <dgm:spPr/>
    </dgm:pt>
  </dgm:ptLst>
  <dgm:cxnLst>
    <dgm:cxn modelId="{A6F12EA0-F58F-4168-8311-9B502E72A6C4}" type="presOf" srcId="{915E0521-8ABE-4676-8176-6DF47F5859B5}" destId="{159FE4E9-3425-4137-A71B-35B95AE41B6B}" srcOrd="0" destOrd="0" presId="urn:microsoft.com/office/officeart/2005/8/layout/pyramid2"/>
    <dgm:cxn modelId="{87C04749-1AC4-494E-BB64-50C401E327BB}" type="presOf" srcId="{7B549D10-9A71-4A48-B041-16081701598E}" destId="{7ECABA1B-BB89-4AA5-8AF4-46FBE0ED3DB6}" srcOrd="0" destOrd="0" presId="urn:microsoft.com/office/officeart/2005/8/layout/pyramid2"/>
    <dgm:cxn modelId="{CB69A44E-95F3-4C37-90BE-599EFEFC0F2F}" srcId="{6C19D78F-C8ED-402C-9116-2A382636B8F9}" destId="{C914D8D3-2EDE-494C-AA4D-B8F7837D6CF1}" srcOrd="1" destOrd="0" parTransId="{76916357-CB3D-4FC0-A3EF-62060A6619AB}" sibTransId="{E018D368-11D1-4192-A0BC-E4D692BDA2DA}"/>
    <dgm:cxn modelId="{3242BB63-1145-4093-B79A-1A36B6180863}" srcId="{6C19D78F-C8ED-402C-9116-2A382636B8F9}" destId="{7B549D10-9A71-4A48-B041-16081701598E}" srcOrd="2" destOrd="0" parTransId="{26B9F798-4836-408F-BF50-5F55278FF1F9}" sibTransId="{E94BB383-C187-4F76-AD76-0CE9772B0291}"/>
    <dgm:cxn modelId="{DFC97675-3C8F-4E84-BD29-0F68959E5907}" type="presOf" srcId="{6C19D78F-C8ED-402C-9116-2A382636B8F9}" destId="{8F39AB2A-4D6A-4BF6-A5BA-A994FC6EEFB4}" srcOrd="0" destOrd="0" presId="urn:microsoft.com/office/officeart/2005/8/layout/pyramid2"/>
    <dgm:cxn modelId="{200EA70A-1A90-4346-B1A7-9164F91D4AA9}" srcId="{6C19D78F-C8ED-402C-9116-2A382636B8F9}" destId="{915E0521-8ABE-4676-8176-6DF47F5859B5}" srcOrd="0" destOrd="0" parTransId="{D3C3DB68-D584-4E9A-BA00-406FD1BCDB6C}" sibTransId="{5CEE74D7-47E3-45B6-86D1-D80285CC58E5}"/>
    <dgm:cxn modelId="{EB20620A-57E1-480F-90EC-8C4DD181F782}" type="presOf" srcId="{C914D8D3-2EDE-494C-AA4D-B8F7837D6CF1}" destId="{452BB841-219D-4568-8F7F-02699D6D6FA6}" srcOrd="0" destOrd="0" presId="urn:microsoft.com/office/officeart/2005/8/layout/pyramid2"/>
    <dgm:cxn modelId="{3CF59AC0-8CA3-490D-A70C-4F1C62C4C973}" type="presParOf" srcId="{8F39AB2A-4D6A-4BF6-A5BA-A994FC6EEFB4}" destId="{780A598E-97A5-41F0-8B05-EFCA44FFBB82}" srcOrd="0" destOrd="0" presId="urn:microsoft.com/office/officeart/2005/8/layout/pyramid2"/>
    <dgm:cxn modelId="{8DA47465-1086-4F59-B540-95D6B79DF503}" type="presParOf" srcId="{8F39AB2A-4D6A-4BF6-A5BA-A994FC6EEFB4}" destId="{1960D58E-1A89-4AEB-A385-6DEBD7E0834F}" srcOrd="1" destOrd="0" presId="urn:microsoft.com/office/officeart/2005/8/layout/pyramid2"/>
    <dgm:cxn modelId="{36545B4B-7786-4DCE-A09E-7FC261EAC3DE}" type="presParOf" srcId="{1960D58E-1A89-4AEB-A385-6DEBD7E0834F}" destId="{159FE4E9-3425-4137-A71B-35B95AE41B6B}" srcOrd="0" destOrd="0" presId="urn:microsoft.com/office/officeart/2005/8/layout/pyramid2"/>
    <dgm:cxn modelId="{A16CB16B-213B-4D6A-8665-37A8A996955C}" type="presParOf" srcId="{1960D58E-1A89-4AEB-A385-6DEBD7E0834F}" destId="{C78EE75E-95F8-4EC8-B469-4FACE6D90081}" srcOrd="1" destOrd="0" presId="urn:microsoft.com/office/officeart/2005/8/layout/pyramid2"/>
    <dgm:cxn modelId="{DACC27C2-9AB8-49C8-B911-E979E0B962FC}" type="presParOf" srcId="{1960D58E-1A89-4AEB-A385-6DEBD7E0834F}" destId="{452BB841-219D-4568-8F7F-02699D6D6FA6}" srcOrd="2" destOrd="0" presId="urn:microsoft.com/office/officeart/2005/8/layout/pyramid2"/>
    <dgm:cxn modelId="{C96C4C42-E7C2-4DB9-B7BB-6272B4373B0E}" type="presParOf" srcId="{1960D58E-1A89-4AEB-A385-6DEBD7E0834F}" destId="{919E2E30-36D2-45AE-8003-F3F489176996}" srcOrd="3" destOrd="0" presId="urn:microsoft.com/office/officeart/2005/8/layout/pyramid2"/>
    <dgm:cxn modelId="{6D072FBE-AD60-456A-A5FB-A37AE2D8D0E8}" type="presParOf" srcId="{1960D58E-1A89-4AEB-A385-6DEBD7E0834F}" destId="{7ECABA1B-BB89-4AA5-8AF4-46FBE0ED3DB6}" srcOrd="4" destOrd="0" presId="urn:microsoft.com/office/officeart/2005/8/layout/pyramid2"/>
    <dgm:cxn modelId="{ED46613A-E54B-4A38-B82F-8E758AD75FD1}" type="presParOf" srcId="{1960D58E-1A89-4AEB-A385-6DEBD7E0834F}" destId="{E165A903-1B52-4100-80C8-39A6EBE6A533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EC322C-A848-4A74-9136-1CF7D1EE0CF6}" type="doc">
      <dgm:prSet loTypeId="urn:microsoft.com/office/officeart/2005/8/layout/venn1" loCatId="relationship" qsTypeId="urn:microsoft.com/office/officeart/2005/8/quickstyle/simple1#5" qsCatId="simple" csTypeId="urn:microsoft.com/office/officeart/2005/8/colors/colorful5" csCatId="colorful" phldr="1"/>
      <dgm:spPr/>
    </dgm:pt>
    <dgm:pt modelId="{AF8537DD-EB53-4815-820F-46145428DBD0}">
      <dgm:prSet phldrT="[Текст]"/>
      <dgm:spPr>
        <a:solidFill>
          <a:srgbClr val="92D050">
            <a:alpha val="50000"/>
          </a:srgbClr>
        </a:solidFill>
      </dgm:spPr>
      <dgm:t>
        <a:bodyPr/>
        <a:lstStyle/>
        <a:p>
          <a:r>
            <a:rPr lang="ru-RU" dirty="0" smtClean="0"/>
            <a:t>1. </a:t>
          </a:r>
        </a:p>
        <a:p>
          <a:r>
            <a:rPr lang="ru-RU" dirty="0" smtClean="0"/>
            <a:t>Построение эффективной среды для решения  проблем пользователей</a:t>
          </a:r>
          <a:r>
            <a:rPr lang="en-US" dirty="0" smtClean="0"/>
            <a:t> </a:t>
          </a:r>
          <a:r>
            <a:rPr lang="ru-RU" dirty="0" smtClean="0"/>
            <a:t>онлайн-сообщества Сколково.</a:t>
          </a:r>
          <a:endParaRPr lang="ru-RU" dirty="0"/>
        </a:p>
      </dgm:t>
    </dgm:pt>
    <dgm:pt modelId="{8FB5BF97-3EF9-4DB7-8C6B-B6EA4E684F8A}" type="parTrans" cxnId="{3F39D8C9-8AEB-4559-BC10-E378A484738D}">
      <dgm:prSet/>
      <dgm:spPr/>
      <dgm:t>
        <a:bodyPr/>
        <a:lstStyle/>
        <a:p>
          <a:endParaRPr lang="ru-RU"/>
        </a:p>
      </dgm:t>
    </dgm:pt>
    <dgm:pt modelId="{5220477C-F2E3-48A2-957D-14FEC5816B7E}" type="sibTrans" cxnId="{3F39D8C9-8AEB-4559-BC10-E378A484738D}">
      <dgm:prSet/>
      <dgm:spPr/>
      <dgm:t>
        <a:bodyPr/>
        <a:lstStyle/>
        <a:p>
          <a:endParaRPr lang="ru-RU"/>
        </a:p>
      </dgm:t>
    </dgm:pt>
    <dgm:pt modelId="{88EBBE4C-31C8-466A-8700-378E7079A4C6}">
      <dgm:prSet/>
      <dgm:spPr/>
      <dgm:t>
        <a:bodyPr/>
        <a:lstStyle/>
        <a:p>
          <a:pPr algn="r"/>
          <a:r>
            <a:rPr lang="ru-RU" dirty="0" smtClean="0"/>
            <a:t>3. </a:t>
          </a:r>
        </a:p>
        <a:p>
          <a:pPr algn="r"/>
          <a:r>
            <a:rPr lang="ru-RU" dirty="0" smtClean="0"/>
            <a:t>Решение задач Фонда по взаимодействию с традиционными профессиональными сообществами, переводу их в онлайн.</a:t>
          </a:r>
          <a:endParaRPr lang="ru-RU" dirty="0"/>
        </a:p>
      </dgm:t>
    </dgm:pt>
    <dgm:pt modelId="{BD841ADD-6BE4-4C94-AC39-1A0CABB0A16A}" type="parTrans" cxnId="{DE962080-9EED-4FE0-988E-AEE91F454C64}">
      <dgm:prSet/>
      <dgm:spPr/>
      <dgm:t>
        <a:bodyPr/>
        <a:lstStyle/>
        <a:p>
          <a:endParaRPr lang="ru-RU"/>
        </a:p>
      </dgm:t>
    </dgm:pt>
    <dgm:pt modelId="{B862F1FC-7CD7-4558-8BA4-11E53600B561}" type="sibTrans" cxnId="{DE962080-9EED-4FE0-988E-AEE91F454C64}">
      <dgm:prSet/>
      <dgm:spPr/>
      <dgm:t>
        <a:bodyPr/>
        <a:lstStyle/>
        <a:p>
          <a:endParaRPr lang="ru-RU"/>
        </a:p>
      </dgm:t>
    </dgm:pt>
    <dgm:pt modelId="{747C9BE1-855B-40B2-AA68-30325DAEBE57}">
      <dgm:prSet/>
      <dgm:spPr>
        <a:solidFill>
          <a:srgbClr val="00B050">
            <a:alpha val="50000"/>
          </a:srgbClr>
        </a:solidFill>
      </dgm:spPr>
      <dgm:t>
        <a:bodyPr/>
        <a:lstStyle/>
        <a:p>
          <a:pPr algn="l"/>
          <a:r>
            <a:rPr lang="ru-RU" dirty="0" smtClean="0"/>
            <a:t>2. Формирование  инструмента для внешнего управления инициативами Фонда. Выработка кодексов и ценностей Фонда на основании внешнего воздействия онлайн-сообщества.</a:t>
          </a:r>
          <a:endParaRPr lang="ru-RU" dirty="0"/>
        </a:p>
      </dgm:t>
    </dgm:pt>
    <dgm:pt modelId="{71CE8193-78E0-47D1-944E-7939DECC63D2}" type="parTrans" cxnId="{B02DA242-C9FE-4BB3-B2C3-E2ECBF2A801A}">
      <dgm:prSet/>
      <dgm:spPr/>
      <dgm:t>
        <a:bodyPr/>
        <a:lstStyle/>
        <a:p>
          <a:endParaRPr lang="ru-RU"/>
        </a:p>
      </dgm:t>
    </dgm:pt>
    <dgm:pt modelId="{97D9240E-7184-4506-823A-B9BA46E1FED7}" type="sibTrans" cxnId="{B02DA242-C9FE-4BB3-B2C3-E2ECBF2A801A}">
      <dgm:prSet/>
      <dgm:spPr/>
      <dgm:t>
        <a:bodyPr/>
        <a:lstStyle/>
        <a:p>
          <a:endParaRPr lang="ru-RU"/>
        </a:p>
      </dgm:t>
    </dgm:pt>
    <dgm:pt modelId="{EC3B69F0-A4B9-4781-BE3F-4B6299C8277B}" type="pres">
      <dgm:prSet presAssocID="{B1EC322C-A848-4A74-9136-1CF7D1EE0CF6}" presName="compositeShape" presStyleCnt="0">
        <dgm:presLayoutVars>
          <dgm:chMax val="7"/>
          <dgm:dir/>
          <dgm:resizeHandles val="exact"/>
        </dgm:presLayoutVars>
      </dgm:prSet>
      <dgm:spPr/>
    </dgm:pt>
    <dgm:pt modelId="{EA18D264-BFA9-431F-B3DD-F858D0156AF0}" type="pres">
      <dgm:prSet presAssocID="{AF8537DD-EB53-4815-820F-46145428DBD0}" presName="circ1" presStyleLbl="vennNode1" presStyleIdx="0" presStyleCnt="3"/>
      <dgm:spPr/>
      <dgm:t>
        <a:bodyPr/>
        <a:lstStyle/>
        <a:p>
          <a:endParaRPr lang="ru-RU"/>
        </a:p>
      </dgm:t>
    </dgm:pt>
    <dgm:pt modelId="{D0F3D384-0FE7-4D08-88A4-CF0493A7F6D3}" type="pres">
      <dgm:prSet presAssocID="{AF8537DD-EB53-4815-820F-46145428DBD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9B6C4B-EF92-47D9-8255-6A0A4999E2B8}" type="pres">
      <dgm:prSet presAssocID="{88EBBE4C-31C8-466A-8700-378E7079A4C6}" presName="circ2" presStyleLbl="vennNode1" presStyleIdx="1" presStyleCnt="3"/>
      <dgm:spPr/>
      <dgm:t>
        <a:bodyPr/>
        <a:lstStyle/>
        <a:p>
          <a:endParaRPr lang="ru-RU"/>
        </a:p>
      </dgm:t>
    </dgm:pt>
    <dgm:pt modelId="{62F11004-1332-44E2-BCDE-AA552ACC31AC}" type="pres">
      <dgm:prSet presAssocID="{88EBBE4C-31C8-466A-8700-378E7079A4C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77095F-EDC6-4674-96C2-9146FEC44584}" type="pres">
      <dgm:prSet presAssocID="{747C9BE1-855B-40B2-AA68-30325DAEBE57}" presName="circ3" presStyleLbl="vennNode1" presStyleIdx="2" presStyleCnt="3"/>
      <dgm:spPr/>
      <dgm:t>
        <a:bodyPr/>
        <a:lstStyle/>
        <a:p>
          <a:endParaRPr lang="ru-RU"/>
        </a:p>
      </dgm:t>
    </dgm:pt>
    <dgm:pt modelId="{5C8247AA-8ABD-49F1-AAD0-A2AA7B3406C5}" type="pres">
      <dgm:prSet presAssocID="{747C9BE1-855B-40B2-AA68-30325DAEBE57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A23B14A-3F76-4878-B5F4-117BD6BE0335}" type="presOf" srcId="{88EBBE4C-31C8-466A-8700-378E7079A4C6}" destId="{549B6C4B-EF92-47D9-8255-6A0A4999E2B8}" srcOrd="1" destOrd="0" presId="urn:microsoft.com/office/officeart/2005/8/layout/venn1"/>
    <dgm:cxn modelId="{1A8CE7F5-A759-453D-AABE-682B8962DC57}" type="presOf" srcId="{AF8537DD-EB53-4815-820F-46145428DBD0}" destId="{D0F3D384-0FE7-4D08-88A4-CF0493A7F6D3}" srcOrd="0" destOrd="0" presId="urn:microsoft.com/office/officeart/2005/8/layout/venn1"/>
    <dgm:cxn modelId="{3F39D8C9-8AEB-4559-BC10-E378A484738D}" srcId="{B1EC322C-A848-4A74-9136-1CF7D1EE0CF6}" destId="{AF8537DD-EB53-4815-820F-46145428DBD0}" srcOrd="0" destOrd="0" parTransId="{8FB5BF97-3EF9-4DB7-8C6B-B6EA4E684F8A}" sibTransId="{5220477C-F2E3-48A2-957D-14FEC5816B7E}"/>
    <dgm:cxn modelId="{DE962080-9EED-4FE0-988E-AEE91F454C64}" srcId="{B1EC322C-A848-4A74-9136-1CF7D1EE0CF6}" destId="{88EBBE4C-31C8-466A-8700-378E7079A4C6}" srcOrd="1" destOrd="0" parTransId="{BD841ADD-6BE4-4C94-AC39-1A0CABB0A16A}" sibTransId="{B862F1FC-7CD7-4558-8BA4-11E53600B561}"/>
    <dgm:cxn modelId="{E2C851E8-C20E-4406-AD5B-F584BFACEBE5}" type="presOf" srcId="{AF8537DD-EB53-4815-820F-46145428DBD0}" destId="{EA18D264-BFA9-431F-B3DD-F858D0156AF0}" srcOrd="1" destOrd="0" presId="urn:microsoft.com/office/officeart/2005/8/layout/venn1"/>
    <dgm:cxn modelId="{C4B9B7F0-7D7B-42F2-9721-14183C9A3886}" type="presOf" srcId="{747C9BE1-855B-40B2-AA68-30325DAEBE57}" destId="{5C8247AA-8ABD-49F1-AAD0-A2AA7B3406C5}" srcOrd="0" destOrd="0" presId="urn:microsoft.com/office/officeart/2005/8/layout/venn1"/>
    <dgm:cxn modelId="{B02DA242-C9FE-4BB3-B2C3-E2ECBF2A801A}" srcId="{B1EC322C-A848-4A74-9136-1CF7D1EE0CF6}" destId="{747C9BE1-855B-40B2-AA68-30325DAEBE57}" srcOrd="2" destOrd="0" parTransId="{71CE8193-78E0-47D1-944E-7939DECC63D2}" sibTransId="{97D9240E-7184-4506-823A-B9BA46E1FED7}"/>
    <dgm:cxn modelId="{C94CCC85-1F12-4297-AE4E-2DDD00FA8E37}" type="presOf" srcId="{88EBBE4C-31C8-466A-8700-378E7079A4C6}" destId="{62F11004-1332-44E2-BCDE-AA552ACC31AC}" srcOrd="0" destOrd="0" presId="urn:microsoft.com/office/officeart/2005/8/layout/venn1"/>
    <dgm:cxn modelId="{6C8BD540-515E-44D5-9E61-A6BDB2A129C1}" type="presOf" srcId="{747C9BE1-855B-40B2-AA68-30325DAEBE57}" destId="{7777095F-EDC6-4674-96C2-9146FEC44584}" srcOrd="1" destOrd="0" presId="urn:microsoft.com/office/officeart/2005/8/layout/venn1"/>
    <dgm:cxn modelId="{BF7134FE-0A13-4AAC-AE21-3C659B5D4B2C}" type="presOf" srcId="{B1EC322C-A848-4A74-9136-1CF7D1EE0CF6}" destId="{EC3B69F0-A4B9-4781-BE3F-4B6299C8277B}" srcOrd="0" destOrd="0" presId="urn:microsoft.com/office/officeart/2005/8/layout/venn1"/>
    <dgm:cxn modelId="{9B0A6AB5-76C3-42BB-BE8A-A23C97D1B714}" type="presParOf" srcId="{EC3B69F0-A4B9-4781-BE3F-4B6299C8277B}" destId="{EA18D264-BFA9-431F-B3DD-F858D0156AF0}" srcOrd="0" destOrd="0" presId="urn:microsoft.com/office/officeart/2005/8/layout/venn1"/>
    <dgm:cxn modelId="{06CFB578-4A83-44FA-89ED-05957A4FBBCE}" type="presParOf" srcId="{EC3B69F0-A4B9-4781-BE3F-4B6299C8277B}" destId="{D0F3D384-0FE7-4D08-88A4-CF0493A7F6D3}" srcOrd="1" destOrd="0" presId="urn:microsoft.com/office/officeart/2005/8/layout/venn1"/>
    <dgm:cxn modelId="{76E93170-5B04-433A-967B-8AB449964633}" type="presParOf" srcId="{EC3B69F0-A4B9-4781-BE3F-4B6299C8277B}" destId="{549B6C4B-EF92-47D9-8255-6A0A4999E2B8}" srcOrd="2" destOrd="0" presId="urn:microsoft.com/office/officeart/2005/8/layout/venn1"/>
    <dgm:cxn modelId="{A99DFB78-50E4-4B12-8CC6-E2B7BF909EAA}" type="presParOf" srcId="{EC3B69F0-A4B9-4781-BE3F-4B6299C8277B}" destId="{62F11004-1332-44E2-BCDE-AA552ACC31AC}" srcOrd="3" destOrd="0" presId="urn:microsoft.com/office/officeart/2005/8/layout/venn1"/>
    <dgm:cxn modelId="{6B0BFFDF-7BA2-4270-BAA7-A05E0BDCC4AF}" type="presParOf" srcId="{EC3B69F0-A4B9-4781-BE3F-4B6299C8277B}" destId="{7777095F-EDC6-4674-96C2-9146FEC44584}" srcOrd="4" destOrd="0" presId="urn:microsoft.com/office/officeart/2005/8/layout/venn1"/>
    <dgm:cxn modelId="{CF90AA58-41AD-4B9C-A867-8E66A95B8002}" type="presParOf" srcId="{EC3B69F0-A4B9-4781-BE3F-4B6299C8277B}" destId="{5C8247AA-8ABD-49F1-AAD0-A2AA7B3406C5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F1398CD-C389-4B9D-B51F-38AAD2F4A7A6}" type="doc">
      <dgm:prSet loTypeId="urn:microsoft.com/office/officeart/2005/8/layout/hList1" loCatId="list" qsTypeId="urn:microsoft.com/office/officeart/2005/8/quickstyle/simple1#6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DAC33A44-4CD3-4074-A9CC-ACC696472F21}">
      <dgm:prSet phldrT="[Текст]"/>
      <dgm:spPr/>
      <dgm:t>
        <a:bodyPr/>
        <a:lstStyle/>
        <a:p>
          <a:r>
            <a:rPr lang="ru-RU" dirty="0" smtClean="0"/>
            <a:t>Информационное направление</a:t>
          </a:r>
          <a:endParaRPr lang="ru-RU" dirty="0"/>
        </a:p>
      </dgm:t>
    </dgm:pt>
    <dgm:pt modelId="{4F02987E-2741-43D6-A8F7-FDAF816F5144}" type="parTrans" cxnId="{4DE551DC-7D67-4F71-BEE0-126C6DF614BF}">
      <dgm:prSet/>
      <dgm:spPr/>
      <dgm:t>
        <a:bodyPr/>
        <a:lstStyle/>
        <a:p>
          <a:endParaRPr lang="ru-RU"/>
        </a:p>
      </dgm:t>
    </dgm:pt>
    <dgm:pt modelId="{C51E7B12-F5F7-4F29-A2CD-FBCB4564FE18}" type="sibTrans" cxnId="{4DE551DC-7D67-4F71-BEE0-126C6DF614BF}">
      <dgm:prSet/>
      <dgm:spPr/>
      <dgm:t>
        <a:bodyPr/>
        <a:lstStyle/>
        <a:p>
          <a:endParaRPr lang="ru-RU"/>
        </a:p>
      </dgm:t>
    </dgm:pt>
    <dgm:pt modelId="{18B01C24-56C6-44D3-A378-DD0E998DA44E}">
      <dgm:prSet phldrT="[Текст]"/>
      <dgm:spPr/>
      <dgm:t>
        <a:bodyPr/>
        <a:lstStyle/>
        <a:p>
          <a:r>
            <a:rPr lang="ru-RU" dirty="0" err="1" smtClean="0"/>
            <a:t>Инфоцентр</a:t>
          </a:r>
          <a:r>
            <a:rPr lang="ru-RU" dirty="0" smtClean="0"/>
            <a:t>,</a:t>
          </a:r>
          <a:endParaRPr lang="ru-RU" dirty="0"/>
        </a:p>
      </dgm:t>
    </dgm:pt>
    <dgm:pt modelId="{5CDC57F8-4D3A-4394-82BE-D172E866315E}" type="parTrans" cxnId="{0D3E5729-9AC8-4DF9-9690-160C9A8B45C8}">
      <dgm:prSet/>
      <dgm:spPr/>
      <dgm:t>
        <a:bodyPr/>
        <a:lstStyle/>
        <a:p>
          <a:endParaRPr lang="ru-RU"/>
        </a:p>
      </dgm:t>
    </dgm:pt>
    <dgm:pt modelId="{B7D12A9A-D1DB-4F44-9E0C-FE07C9435A49}" type="sibTrans" cxnId="{0D3E5729-9AC8-4DF9-9690-160C9A8B45C8}">
      <dgm:prSet/>
      <dgm:spPr/>
      <dgm:t>
        <a:bodyPr/>
        <a:lstStyle/>
        <a:p>
          <a:endParaRPr lang="ru-RU"/>
        </a:p>
      </dgm:t>
    </dgm:pt>
    <dgm:pt modelId="{30A77FFA-1A4D-4C1A-978A-8EC0CBE5F9F4}">
      <dgm:prSet phldrT="[Текст]"/>
      <dgm:spPr/>
      <dgm:t>
        <a:bodyPr/>
        <a:lstStyle/>
        <a:p>
          <a:r>
            <a:rPr lang="ru-RU" dirty="0" smtClean="0"/>
            <a:t>Сервисное направление </a:t>
          </a:r>
          <a:endParaRPr lang="ru-RU" dirty="0"/>
        </a:p>
      </dgm:t>
    </dgm:pt>
    <dgm:pt modelId="{4E1FCB70-16EA-47E4-92C4-64FE464EE4C4}" type="parTrans" cxnId="{35395701-1B84-4588-87CA-3D4C4FB143DA}">
      <dgm:prSet/>
      <dgm:spPr/>
      <dgm:t>
        <a:bodyPr/>
        <a:lstStyle/>
        <a:p>
          <a:endParaRPr lang="ru-RU"/>
        </a:p>
      </dgm:t>
    </dgm:pt>
    <dgm:pt modelId="{A1E747EA-936A-492A-B021-3AEAA7E39BB3}" type="sibTrans" cxnId="{35395701-1B84-4588-87CA-3D4C4FB143DA}">
      <dgm:prSet/>
      <dgm:spPr/>
      <dgm:t>
        <a:bodyPr/>
        <a:lstStyle/>
        <a:p>
          <a:endParaRPr lang="ru-RU"/>
        </a:p>
      </dgm:t>
    </dgm:pt>
    <dgm:pt modelId="{C6FBAED1-3EAC-4263-8561-471B5B139488}">
      <dgm:prSet phldrT="[Текст]"/>
      <dgm:spPr/>
      <dgm:t>
        <a:bodyPr/>
        <a:lstStyle/>
        <a:p>
          <a:r>
            <a:rPr lang="ru-RU" dirty="0" smtClean="0"/>
            <a:t>Услуги кадрового центра Технопарка,</a:t>
          </a:r>
          <a:endParaRPr lang="ru-RU" dirty="0"/>
        </a:p>
      </dgm:t>
    </dgm:pt>
    <dgm:pt modelId="{B791A86A-6F81-48A9-80F2-E40D566C952F}" type="parTrans" cxnId="{98DCC2BE-3E6C-4C9E-BF13-56E7F0390A2A}">
      <dgm:prSet/>
      <dgm:spPr/>
      <dgm:t>
        <a:bodyPr/>
        <a:lstStyle/>
        <a:p>
          <a:endParaRPr lang="ru-RU"/>
        </a:p>
      </dgm:t>
    </dgm:pt>
    <dgm:pt modelId="{15117796-2AA3-4838-AA0E-29E9DA60DB90}" type="sibTrans" cxnId="{98DCC2BE-3E6C-4C9E-BF13-56E7F0390A2A}">
      <dgm:prSet/>
      <dgm:spPr/>
      <dgm:t>
        <a:bodyPr/>
        <a:lstStyle/>
        <a:p>
          <a:endParaRPr lang="ru-RU"/>
        </a:p>
      </dgm:t>
    </dgm:pt>
    <dgm:pt modelId="{7CF8799C-2247-4244-B62C-173E74CF91CE}">
      <dgm:prSet phldrT="[Текст]"/>
      <dgm:spPr/>
      <dgm:t>
        <a:bodyPr/>
        <a:lstStyle/>
        <a:p>
          <a:r>
            <a:rPr lang="ru-RU" dirty="0" err="1" smtClean="0"/>
            <a:t>Коллаборационное</a:t>
          </a:r>
          <a:r>
            <a:rPr lang="ru-RU" dirty="0" smtClean="0"/>
            <a:t> направление</a:t>
          </a:r>
          <a:endParaRPr lang="ru-RU" dirty="0"/>
        </a:p>
      </dgm:t>
    </dgm:pt>
    <dgm:pt modelId="{02052D4E-2D9D-4B80-8528-94A622CC361D}" type="parTrans" cxnId="{A9B4DF05-3037-4637-A3C9-F91CB35D38B4}">
      <dgm:prSet/>
      <dgm:spPr/>
      <dgm:t>
        <a:bodyPr/>
        <a:lstStyle/>
        <a:p>
          <a:endParaRPr lang="ru-RU"/>
        </a:p>
      </dgm:t>
    </dgm:pt>
    <dgm:pt modelId="{11FC0FB3-95EA-4A35-9018-D4A361AEB803}" type="sibTrans" cxnId="{A9B4DF05-3037-4637-A3C9-F91CB35D38B4}">
      <dgm:prSet/>
      <dgm:spPr/>
      <dgm:t>
        <a:bodyPr/>
        <a:lstStyle/>
        <a:p>
          <a:endParaRPr lang="ru-RU"/>
        </a:p>
      </dgm:t>
    </dgm:pt>
    <dgm:pt modelId="{BDD08BA7-A38E-458A-AF38-58BD14C923ED}">
      <dgm:prSet phldrT="[Текст]"/>
      <dgm:spPr/>
      <dgm:t>
        <a:bodyPr/>
        <a:lstStyle/>
        <a:p>
          <a:r>
            <a:rPr lang="ru-RU" dirty="0" smtClean="0"/>
            <a:t>Вовлечение людей для совместного «делания» в онлайн сообществе,</a:t>
          </a:r>
          <a:endParaRPr lang="ru-RU" dirty="0"/>
        </a:p>
      </dgm:t>
    </dgm:pt>
    <dgm:pt modelId="{ADFD2357-06E7-417A-BF8E-FCDC2D00EEFA}" type="parTrans" cxnId="{3A8C5062-00BC-44CD-B587-52B6FFBE6913}">
      <dgm:prSet/>
      <dgm:spPr/>
      <dgm:t>
        <a:bodyPr/>
        <a:lstStyle/>
        <a:p>
          <a:endParaRPr lang="ru-RU"/>
        </a:p>
      </dgm:t>
    </dgm:pt>
    <dgm:pt modelId="{735965B5-5F46-4AFD-A92C-ABC9F90DF106}" type="sibTrans" cxnId="{3A8C5062-00BC-44CD-B587-52B6FFBE6913}">
      <dgm:prSet/>
      <dgm:spPr/>
      <dgm:t>
        <a:bodyPr/>
        <a:lstStyle/>
        <a:p>
          <a:endParaRPr lang="ru-RU"/>
        </a:p>
      </dgm:t>
    </dgm:pt>
    <dgm:pt modelId="{2DDF463F-D6CB-439C-A908-ECBF8AD37230}">
      <dgm:prSet phldrT="[Текст]"/>
      <dgm:spPr/>
      <dgm:t>
        <a:bodyPr/>
        <a:lstStyle/>
        <a:p>
          <a:r>
            <a:rPr lang="ru-RU" dirty="0" smtClean="0"/>
            <a:t>Новости Фонда,</a:t>
          </a:r>
          <a:endParaRPr lang="ru-RU" dirty="0"/>
        </a:p>
      </dgm:t>
    </dgm:pt>
    <dgm:pt modelId="{0D184D9A-6D4A-42CE-A667-8EA97DBB47F1}" type="parTrans" cxnId="{AE2BC7F4-68B1-4B52-B1FE-E6F97143FF92}">
      <dgm:prSet/>
      <dgm:spPr/>
      <dgm:t>
        <a:bodyPr/>
        <a:lstStyle/>
        <a:p>
          <a:endParaRPr lang="ru-RU"/>
        </a:p>
      </dgm:t>
    </dgm:pt>
    <dgm:pt modelId="{C22630E5-6B04-43DC-96A3-316EA4DDC4E4}" type="sibTrans" cxnId="{AE2BC7F4-68B1-4B52-B1FE-E6F97143FF92}">
      <dgm:prSet/>
      <dgm:spPr/>
      <dgm:t>
        <a:bodyPr/>
        <a:lstStyle/>
        <a:p>
          <a:endParaRPr lang="ru-RU"/>
        </a:p>
      </dgm:t>
    </dgm:pt>
    <dgm:pt modelId="{342BAEC8-B2B8-49BB-9EA0-09974793B619}">
      <dgm:prSet phldrT="[Текст]"/>
      <dgm:spPr/>
      <dgm:t>
        <a:bodyPr/>
        <a:lstStyle/>
        <a:p>
          <a:endParaRPr lang="ru-RU" dirty="0"/>
        </a:p>
      </dgm:t>
    </dgm:pt>
    <dgm:pt modelId="{8A5114CB-207E-404E-9FF8-E12776922826}" type="parTrans" cxnId="{49799F21-412F-43E0-9816-CCE10538EE1D}">
      <dgm:prSet/>
      <dgm:spPr/>
      <dgm:t>
        <a:bodyPr/>
        <a:lstStyle/>
        <a:p>
          <a:endParaRPr lang="ru-RU"/>
        </a:p>
      </dgm:t>
    </dgm:pt>
    <dgm:pt modelId="{4CD73F89-CDA7-4E6F-8858-9CFBBCBEDA50}" type="sibTrans" cxnId="{49799F21-412F-43E0-9816-CCE10538EE1D}">
      <dgm:prSet/>
      <dgm:spPr/>
      <dgm:t>
        <a:bodyPr/>
        <a:lstStyle/>
        <a:p>
          <a:endParaRPr lang="ru-RU"/>
        </a:p>
      </dgm:t>
    </dgm:pt>
    <dgm:pt modelId="{B7E6D0F4-163D-411E-ABDF-656C64CA1F82}">
      <dgm:prSet phldrT="[Текст]"/>
      <dgm:spPr/>
      <dgm:t>
        <a:bodyPr/>
        <a:lstStyle/>
        <a:p>
          <a:r>
            <a:rPr lang="ru-RU" dirty="0" smtClean="0"/>
            <a:t>События,</a:t>
          </a:r>
          <a:endParaRPr lang="ru-RU" dirty="0"/>
        </a:p>
      </dgm:t>
    </dgm:pt>
    <dgm:pt modelId="{756B337F-BE4D-4A89-941A-B0C10E339AFD}" type="parTrans" cxnId="{2C96C813-03DC-4F66-A9B8-6E18AFA839D2}">
      <dgm:prSet/>
      <dgm:spPr/>
      <dgm:t>
        <a:bodyPr/>
        <a:lstStyle/>
        <a:p>
          <a:endParaRPr lang="ru-RU"/>
        </a:p>
      </dgm:t>
    </dgm:pt>
    <dgm:pt modelId="{BC1B00B2-972D-47B6-BFFD-8DA87FED39BE}" type="sibTrans" cxnId="{2C96C813-03DC-4F66-A9B8-6E18AFA839D2}">
      <dgm:prSet/>
      <dgm:spPr/>
      <dgm:t>
        <a:bodyPr/>
        <a:lstStyle/>
        <a:p>
          <a:endParaRPr lang="ru-RU"/>
        </a:p>
      </dgm:t>
    </dgm:pt>
    <dgm:pt modelId="{915594E5-DEB7-49E4-B4B7-A07EC1EFED85}">
      <dgm:prSet phldrT="[Текст]"/>
      <dgm:spPr/>
      <dgm:t>
        <a:bodyPr/>
        <a:lstStyle/>
        <a:p>
          <a:r>
            <a:rPr lang="ru-RU" dirty="0" smtClean="0"/>
            <a:t>Спецпроекты,</a:t>
          </a:r>
          <a:endParaRPr lang="ru-RU" dirty="0"/>
        </a:p>
      </dgm:t>
    </dgm:pt>
    <dgm:pt modelId="{7F50E098-14B3-460D-8262-9C0684C92238}" type="parTrans" cxnId="{D752215B-E63F-42FB-BB6B-3C9CCCC4A1B7}">
      <dgm:prSet/>
      <dgm:spPr/>
      <dgm:t>
        <a:bodyPr/>
        <a:lstStyle/>
        <a:p>
          <a:endParaRPr lang="ru-RU"/>
        </a:p>
      </dgm:t>
    </dgm:pt>
    <dgm:pt modelId="{053516F7-3D3C-44D5-8BB3-64E3302EEC83}" type="sibTrans" cxnId="{D752215B-E63F-42FB-BB6B-3C9CCCC4A1B7}">
      <dgm:prSet/>
      <dgm:spPr/>
      <dgm:t>
        <a:bodyPr/>
        <a:lstStyle/>
        <a:p>
          <a:endParaRPr lang="ru-RU"/>
        </a:p>
      </dgm:t>
    </dgm:pt>
    <dgm:pt modelId="{D013C363-0E90-4710-B318-763ABCBC5C9F}">
      <dgm:prSet phldrT="[Текст]"/>
      <dgm:spPr/>
      <dgm:t>
        <a:bodyPr/>
        <a:lstStyle/>
        <a:p>
          <a:r>
            <a:rPr lang="ru-RU" dirty="0" smtClean="0"/>
            <a:t>Обсуждения.</a:t>
          </a:r>
          <a:endParaRPr lang="ru-RU" dirty="0"/>
        </a:p>
      </dgm:t>
    </dgm:pt>
    <dgm:pt modelId="{F0586AF4-527D-4A98-AEE1-77F4F672D3A1}" type="parTrans" cxnId="{C10057B7-345E-4C8E-A01D-52A02A3155EA}">
      <dgm:prSet/>
      <dgm:spPr/>
      <dgm:t>
        <a:bodyPr/>
        <a:lstStyle/>
        <a:p>
          <a:endParaRPr lang="ru-RU"/>
        </a:p>
      </dgm:t>
    </dgm:pt>
    <dgm:pt modelId="{4E97B933-D942-4245-99C2-37996DE88C45}" type="sibTrans" cxnId="{C10057B7-345E-4C8E-A01D-52A02A3155EA}">
      <dgm:prSet/>
      <dgm:spPr/>
      <dgm:t>
        <a:bodyPr/>
        <a:lstStyle/>
        <a:p>
          <a:endParaRPr lang="ru-RU"/>
        </a:p>
      </dgm:t>
    </dgm:pt>
    <dgm:pt modelId="{C798F38F-5ED1-4FD7-91B3-7971587EF063}">
      <dgm:prSet phldrT="[Текст]"/>
      <dgm:spPr/>
      <dgm:t>
        <a:bodyPr/>
        <a:lstStyle/>
        <a:p>
          <a:endParaRPr lang="ru-RU" dirty="0"/>
        </a:p>
      </dgm:t>
    </dgm:pt>
    <dgm:pt modelId="{59E6B711-984E-47C6-A736-8EF9120952A2}" type="parTrans" cxnId="{31C5717F-A0D5-4BF1-82B3-9169BB30E246}">
      <dgm:prSet/>
      <dgm:spPr/>
      <dgm:t>
        <a:bodyPr/>
        <a:lstStyle/>
        <a:p>
          <a:endParaRPr lang="ru-RU"/>
        </a:p>
      </dgm:t>
    </dgm:pt>
    <dgm:pt modelId="{6B5FE7AD-F1F1-4058-9A9D-F66CF4C5D5E2}" type="sibTrans" cxnId="{31C5717F-A0D5-4BF1-82B3-9169BB30E246}">
      <dgm:prSet/>
      <dgm:spPr/>
      <dgm:t>
        <a:bodyPr/>
        <a:lstStyle/>
        <a:p>
          <a:endParaRPr lang="ru-RU"/>
        </a:p>
      </dgm:t>
    </dgm:pt>
    <dgm:pt modelId="{DEC1AED0-581E-4C0D-AAFC-3853CFEBEDEE}">
      <dgm:prSet phldrT="[Текст]"/>
      <dgm:spPr/>
      <dgm:t>
        <a:bodyPr/>
        <a:lstStyle/>
        <a:p>
          <a:r>
            <a:rPr lang="ru-RU" dirty="0" smtClean="0"/>
            <a:t>Заявка на получение статуса участника,</a:t>
          </a:r>
          <a:endParaRPr lang="ru-RU" dirty="0"/>
        </a:p>
      </dgm:t>
    </dgm:pt>
    <dgm:pt modelId="{CCB18009-EB16-46F6-9544-90E410975B63}" type="parTrans" cxnId="{BFB8F6B7-CC0B-4C96-A2FB-F03F6A1C11CD}">
      <dgm:prSet/>
      <dgm:spPr/>
      <dgm:t>
        <a:bodyPr/>
        <a:lstStyle/>
        <a:p>
          <a:endParaRPr lang="ru-RU"/>
        </a:p>
      </dgm:t>
    </dgm:pt>
    <dgm:pt modelId="{E21AA184-E889-4424-81C4-3707B4D21CD7}" type="sibTrans" cxnId="{BFB8F6B7-CC0B-4C96-A2FB-F03F6A1C11CD}">
      <dgm:prSet/>
      <dgm:spPr/>
      <dgm:t>
        <a:bodyPr/>
        <a:lstStyle/>
        <a:p>
          <a:endParaRPr lang="ru-RU"/>
        </a:p>
      </dgm:t>
    </dgm:pt>
    <dgm:pt modelId="{0A750677-792F-48A6-B14C-8AD8A1374F1C}">
      <dgm:prSet phldrT="[Текст]"/>
      <dgm:spPr/>
      <dgm:t>
        <a:bodyPr/>
        <a:lstStyle/>
        <a:p>
          <a:r>
            <a:rPr lang="ru-RU" dirty="0" smtClean="0"/>
            <a:t>Образовательные сервисы,</a:t>
          </a:r>
          <a:endParaRPr lang="ru-RU" dirty="0"/>
        </a:p>
      </dgm:t>
    </dgm:pt>
    <dgm:pt modelId="{4F66C6BE-3985-4855-80D1-5FA8AD853E9C}" type="parTrans" cxnId="{D3C6339B-10CB-4A02-9829-1B1BD8E7A0BA}">
      <dgm:prSet/>
      <dgm:spPr/>
      <dgm:t>
        <a:bodyPr/>
        <a:lstStyle/>
        <a:p>
          <a:endParaRPr lang="ru-RU"/>
        </a:p>
      </dgm:t>
    </dgm:pt>
    <dgm:pt modelId="{C916DFF5-3503-46D0-BD07-F9709BEE6BE6}" type="sibTrans" cxnId="{D3C6339B-10CB-4A02-9829-1B1BD8E7A0BA}">
      <dgm:prSet/>
      <dgm:spPr/>
      <dgm:t>
        <a:bodyPr/>
        <a:lstStyle/>
        <a:p>
          <a:endParaRPr lang="ru-RU"/>
        </a:p>
      </dgm:t>
    </dgm:pt>
    <dgm:pt modelId="{B8A86A4A-B1F4-4C8A-9829-30C6F5E34264}">
      <dgm:prSet phldrT="[Текст]"/>
      <dgm:spPr/>
      <dgm:t>
        <a:bodyPr/>
        <a:lstStyle/>
        <a:p>
          <a:endParaRPr lang="ru-RU" dirty="0"/>
        </a:p>
      </dgm:t>
    </dgm:pt>
    <dgm:pt modelId="{4FD000D0-8DA2-4588-A237-06BF0C3EA2FA}" type="parTrans" cxnId="{692E497B-D61A-4BDB-8275-00336E0E6C59}">
      <dgm:prSet/>
      <dgm:spPr/>
      <dgm:t>
        <a:bodyPr/>
        <a:lstStyle/>
        <a:p>
          <a:endParaRPr lang="ru-RU"/>
        </a:p>
      </dgm:t>
    </dgm:pt>
    <dgm:pt modelId="{E231BA3A-A46F-46B9-9B82-EBAFE83324A4}" type="sibTrans" cxnId="{692E497B-D61A-4BDB-8275-00336E0E6C59}">
      <dgm:prSet/>
      <dgm:spPr/>
      <dgm:t>
        <a:bodyPr/>
        <a:lstStyle/>
        <a:p>
          <a:endParaRPr lang="ru-RU"/>
        </a:p>
      </dgm:t>
    </dgm:pt>
    <dgm:pt modelId="{50FA1A30-0186-46DC-9FD7-369087A42391}">
      <dgm:prSet phldrT="[Текст]"/>
      <dgm:spPr/>
      <dgm:t>
        <a:bodyPr/>
        <a:lstStyle/>
        <a:p>
          <a:r>
            <a:rPr lang="ru-RU" dirty="0" err="1" smtClean="0"/>
            <a:t>Обуждения</a:t>
          </a:r>
          <a:r>
            <a:rPr lang="ru-RU" dirty="0" smtClean="0"/>
            <a:t>, </a:t>
          </a:r>
          <a:endParaRPr lang="ru-RU" dirty="0"/>
        </a:p>
      </dgm:t>
    </dgm:pt>
    <dgm:pt modelId="{B104C47F-1F66-4BC2-8B13-A2E87AF78800}" type="parTrans" cxnId="{F31A4A88-26D9-42DD-8607-712E3034814B}">
      <dgm:prSet/>
      <dgm:spPr/>
      <dgm:t>
        <a:bodyPr/>
        <a:lstStyle/>
        <a:p>
          <a:endParaRPr lang="ru-RU"/>
        </a:p>
      </dgm:t>
    </dgm:pt>
    <dgm:pt modelId="{F80BC82B-4EEC-40A6-8C61-7E59DA02383F}" type="sibTrans" cxnId="{F31A4A88-26D9-42DD-8607-712E3034814B}">
      <dgm:prSet/>
      <dgm:spPr/>
      <dgm:t>
        <a:bodyPr/>
        <a:lstStyle/>
        <a:p>
          <a:endParaRPr lang="ru-RU"/>
        </a:p>
      </dgm:t>
    </dgm:pt>
    <dgm:pt modelId="{0825006C-9A65-4179-B4C0-71A25CEEE1D9}">
      <dgm:prSet phldrT="[Текст]"/>
      <dgm:spPr/>
      <dgm:t>
        <a:bodyPr/>
        <a:lstStyle/>
        <a:p>
          <a:r>
            <a:rPr lang="ru-RU" dirty="0" smtClean="0"/>
            <a:t>Голосования, </a:t>
          </a:r>
          <a:endParaRPr lang="ru-RU" dirty="0"/>
        </a:p>
      </dgm:t>
    </dgm:pt>
    <dgm:pt modelId="{4CAE3F02-8BCC-4C69-9298-9B086153697C}" type="parTrans" cxnId="{CD0F4977-B65E-4C04-862E-1208A23AD19F}">
      <dgm:prSet/>
      <dgm:spPr/>
      <dgm:t>
        <a:bodyPr/>
        <a:lstStyle/>
        <a:p>
          <a:endParaRPr lang="ru-RU"/>
        </a:p>
      </dgm:t>
    </dgm:pt>
    <dgm:pt modelId="{38D647B7-FFB0-403F-8C30-1470A22D4C24}" type="sibTrans" cxnId="{CD0F4977-B65E-4C04-862E-1208A23AD19F}">
      <dgm:prSet/>
      <dgm:spPr/>
      <dgm:t>
        <a:bodyPr/>
        <a:lstStyle/>
        <a:p>
          <a:endParaRPr lang="ru-RU"/>
        </a:p>
      </dgm:t>
    </dgm:pt>
    <dgm:pt modelId="{9D50EC2F-E843-4ED6-965A-F57A112C3086}">
      <dgm:prSet phldrT="[Текст]"/>
      <dgm:spPr/>
      <dgm:t>
        <a:bodyPr/>
        <a:lstStyle/>
        <a:p>
          <a:r>
            <a:rPr lang="ru-RU" dirty="0" smtClean="0"/>
            <a:t>Генерация идей, </a:t>
          </a:r>
          <a:endParaRPr lang="ru-RU" dirty="0"/>
        </a:p>
      </dgm:t>
    </dgm:pt>
    <dgm:pt modelId="{2DF9C39D-681C-4C7E-9A92-80D8C509DE05}" type="parTrans" cxnId="{8065D458-AFB8-4593-A900-B34CD04EF36F}">
      <dgm:prSet/>
      <dgm:spPr/>
      <dgm:t>
        <a:bodyPr/>
        <a:lstStyle/>
        <a:p>
          <a:endParaRPr lang="ru-RU"/>
        </a:p>
      </dgm:t>
    </dgm:pt>
    <dgm:pt modelId="{15869B15-3635-4752-8775-4208CB90828C}" type="sibTrans" cxnId="{8065D458-AFB8-4593-A900-B34CD04EF36F}">
      <dgm:prSet/>
      <dgm:spPr/>
      <dgm:t>
        <a:bodyPr/>
        <a:lstStyle/>
        <a:p>
          <a:endParaRPr lang="ru-RU"/>
        </a:p>
      </dgm:t>
    </dgm:pt>
    <dgm:pt modelId="{0024D8D5-E0C4-4C34-8212-D978AF2AAAF1}">
      <dgm:prSet phldrT="[Текст]"/>
      <dgm:spPr/>
      <dgm:t>
        <a:bodyPr/>
        <a:lstStyle/>
        <a:p>
          <a:r>
            <a:rPr lang="ru-RU" dirty="0" smtClean="0"/>
            <a:t>и др.</a:t>
          </a:r>
          <a:endParaRPr lang="ru-RU" dirty="0"/>
        </a:p>
      </dgm:t>
    </dgm:pt>
    <dgm:pt modelId="{96BE9C82-BE51-47D1-B3FF-4D8F2CC6E4BF}" type="parTrans" cxnId="{6E2215B5-4290-46ED-AA86-5B24508A062F}">
      <dgm:prSet/>
      <dgm:spPr/>
      <dgm:t>
        <a:bodyPr/>
        <a:lstStyle/>
        <a:p>
          <a:endParaRPr lang="ru-RU"/>
        </a:p>
      </dgm:t>
    </dgm:pt>
    <dgm:pt modelId="{7D7B62CC-B5A8-42E2-83A6-7432EAB765D0}" type="sibTrans" cxnId="{6E2215B5-4290-46ED-AA86-5B24508A062F}">
      <dgm:prSet/>
      <dgm:spPr/>
      <dgm:t>
        <a:bodyPr/>
        <a:lstStyle/>
        <a:p>
          <a:endParaRPr lang="ru-RU"/>
        </a:p>
      </dgm:t>
    </dgm:pt>
    <dgm:pt modelId="{ED63C987-3635-474F-8B0E-B5F178574AAC}">
      <dgm:prSet phldrT="[Текст]"/>
      <dgm:spPr/>
      <dgm:t>
        <a:bodyPr/>
        <a:lstStyle/>
        <a:p>
          <a:r>
            <a:rPr lang="ru-RU" smtClean="0"/>
            <a:t>Заявка на грант, </a:t>
          </a:r>
          <a:endParaRPr lang="ru-RU" dirty="0"/>
        </a:p>
      </dgm:t>
    </dgm:pt>
    <dgm:pt modelId="{C768B44C-E08A-4B63-998B-01E5C9DBD9A6}" type="parTrans" cxnId="{2373FD69-246A-40D1-B236-93B78D24CFFA}">
      <dgm:prSet/>
      <dgm:spPr/>
      <dgm:t>
        <a:bodyPr/>
        <a:lstStyle/>
        <a:p>
          <a:endParaRPr lang="ru-RU"/>
        </a:p>
      </dgm:t>
    </dgm:pt>
    <dgm:pt modelId="{DD886AA3-4851-43CF-AD76-B87307AFB779}" type="sibTrans" cxnId="{2373FD69-246A-40D1-B236-93B78D24CFFA}">
      <dgm:prSet/>
      <dgm:spPr/>
      <dgm:t>
        <a:bodyPr/>
        <a:lstStyle/>
        <a:p>
          <a:endParaRPr lang="ru-RU"/>
        </a:p>
      </dgm:t>
    </dgm:pt>
    <dgm:pt modelId="{3F6C3C19-1990-48BD-8FE9-562814854071}">
      <dgm:prSet phldrT="[Текст]"/>
      <dgm:spPr/>
      <dgm:t>
        <a:bodyPr/>
        <a:lstStyle/>
        <a:p>
          <a:r>
            <a:rPr lang="ru-RU" dirty="0" smtClean="0"/>
            <a:t>и др.</a:t>
          </a:r>
          <a:endParaRPr lang="ru-RU" dirty="0"/>
        </a:p>
      </dgm:t>
    </dgm:pt>
    <dgm:pt modelId="{F64BA03E-4885-4EEE-9FE1-3E5756425D46}" type="parTrans" cxnId="{21689828-CF8A-4E6D-AD84-B48C3EA8B0DD}">
      <dgm:prSet/>
      <dgm:spPr/>
      <dgm:t>
        <a:bodyPr/>
        <a:lstStyle/>
        <a:p>
          <a:endParaRPr lang="ru-RU"/>
        </a:p>
      </dgm:t>
    </dgm:pt>
    <dgm:pt modelId="{6C06F6EE-C3E4-4406-9468-69F66B92F774}" type="sibTrans" cxnId="{21689828-CF8A-4E6D-AD84-B48C3EA8B0DD}">
      <dgm:prSet/>
      <dgm:spPr/>
      <dgm:t>
        <a:bodyPr/>
        <a:lstStyle/>
        <a:p>
          <a:endParaRPr lang="ru-RU"/>
        </a:p>
      </dgm:t>
    </dgm:pt>
    <dgm:pt modelId="{AB730BC5-055E-4F3D-882D-67F1A4FDB28F}" type="pres">
      <dgm:prSet presAssocID="{6F1398CD-C389-4B9D-B51F-38AAD2F4A7A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8290610-1BAE-497B-87EC-6DBDC5259910}" type="pres">
      <dgm:prSet presAssocID="{DAC33A44-4CD3-4074-A9CC-ACC696472F21}" presName="composite" presStyleCnt="0"/>
      <dgm:spPr/>
    </dgm:pt>
    <dgm:pt modelId="{0F2EEC2B-01DA-4E23-B866-D7AA6CEDDC3B}" type="pres">
      <dgm:prSet presAssocID="{DAC33A44-4CD3-4074-A9CC-ACC696472F21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016195-89FF-4438-9112-1601583E9EEB}" type="pres">
      <dgm:prSet presAssocID="{DAC33A44-4CD3-4074-A9CC-ACC696472F21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E0F4F7-D1FA-433E-8CBA-C3ADB73C5C62}" type="pres">
      <dgm:prSet presAssocID="{C51E7B12-F5F7-4F29-A2CD-FBCB4564FE18}" presName="space" presStyleCnt="0"/>
      <dgm:spPr/>
    </dgm:pt>
    <dgm:pt modelId="{B1F5DA03-4741-4ED4-83AC-E4DEB42FF9D9}" type="pres">
      <dgm:prSet presAssocID="{30A77FFA-1A4D-4C1A-978A-8EC0CBE5F9F4}" presName="composite" presStyleCnt="0"/>
      <dgm:spPr/>
    </dgm:pt>
    <dgm:pt modelId="{B43110B1-729A-4233-A853-33BA23D850F0}" type="pres">
      <dgm:prSet presAssocID="{30A77FFA-1A4D-4C1A-978A-8EC0CBE5F9F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D01F5D-1A1F-4A9A-95F5-04FFADD1ABCE}" type="pres">
      <dgm:prSet presAssocID="{30A77FFA-1A4D-4C1A-978A-8EC0CBE5F9F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3C033F-01CA-4A9A-979C-455E2EF6A12A}" type="pres">
      <dgm:prSet presAssocID="{A1E747EA-936A-492A-B021-3AEAA7E39BB3}" presName="space" presStyleCnt="0"/>
      <dgm:spPr/>
    </dgm:pt>
    <dgm:pt modelId="{E8FA1A25-BD00-4CA8-B706-3E64F62AD2C9}" type="pres">
      <dgm:prSet presAssocID="{7CF8799C-2247-4244-B62C-173E74CF91CE}" presName="composite" presStyleCnt="0"/>
      <dgm:spPr/>
    </dgm:pt>
    <dgm:pt modelId="{88BB2D48-0C61-4EA6-80DA-C9637EA53F33}" type="pres">
      <dgm:prSet presAssocID="{7CF8799C-2247-4244-B62C-173E74CF91CE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C07D96-C124-4F23-B113-54427EB327A8}" type="pres">
      <dgm:prSet presAssocID="{7CF8799C-2247-4244-B62C-173E74CF91CE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DF32F3B-5DDB-48C0-8B5D-BF0731EF8FE8}" type="presOf" srcId="{BDD08BA7-A38E-458A-AF38-58BD14C923ED}" destId="{B9C07D96-C124-4F23-B113-54427EB327A8}" srcOrd="0" destOrd="1" presId="urn:microsoft.com/office/officeart/2005/8/layout/hList1"/>
    <dgm:cxn modelId="{778EF13E-C21C-4FCC-B778-F9BF83786B81}" type="presOf" srcId="{B7E6D0F4-163D-411E-ABDF-656C64CA1F82}" destId="{60016195-89FF-4438-9112-1601583E9EEB}" srcOrd="0" destOrd="3" presId="urn:microsoft.com/office/officeart/2005/8/layout/hList1"/>
    <dgm:cxn modelId="{3A8C5062-00BC-44CD-B587-52B6FFBE6913}" srcId="{7CF8799C-2247-4244-B62C-173E74CF91CE}" destId="{BDD08BA7-A38E-458A-AF38-58BD14C923ED}" srcOrd="1" destOrd="0" parTransId="{ADFD2357-06E7-417A-BF8E-FCDC2D00EEFA}" sibTransId="{735965B5-5F46-4AFD-A92C-ABC9F90DF106}"/>
    <dgm:cxn modelId="{4C14C969-0FF5-4283-B221-16AEE29FB41F}" type="presOf" srcId="{C6FBAED1-3EAC-4263-8561-471B5B139488}" destId="{D2D01F5D-1A1F-4A9A-95F5-04FFADD1ABCE}" srcOrd="0" destOrd="1" presId="urn:microsoft.com/office/officeart/2005/8/layout/hList1"/>
    <dgm:cxn modelId="{2373FD69-246A-40D1-B236-93B78D24CFFA}" srcId="{30A77FFA-1A4D-4C1A-978A-8EC0CBE5F9F4}" destId="{ED63C987-3635-474F-8B0E-B5F178574AAC}" srcOrd="2" destOrd="0" parTransId="{C768B44C-E08A-4B63-998B-01E5C9DBD9A6}" sibTransId="{DD886AA3-4851-43CF-AD76-B87307AFB779}"/>
    <dgm:cxn modelId="{5FA86DB0-7D7C-4EDE-8709-ED86B64A7253}" type="presOf" srcId="{2DDF463F-D6CB-439C-A908-ECBF8AD37230}" destId="{60016195-89FF-4438-9112-1601583E9EEB}" srcOrd="0" destOrd="2" presId="urn:microsoft.com/office/officeart/2005/8/layout/hList1"/>
    <dgm:cxn modelId="{C6238C57-F621-444A-96AC-B2F7991E7510}" type="presOf" srcId="{C798F38F-5ED1-4FD7-91B3-7971587EF063}" destId="{D2D01F5D-1A1F-4A9A-95F5-04FFADD1ABCE}" srcOrd="0" destOrd="0" presId="urn:microsoft.com/office/officeart/2005/8/layout/hList1"/>
    <dgm:cxn modelId="{5ACC4B35-0209-4D9C-84F8-63D191DCF862}" type="presOf" srcId="{D013C363-0E90-4710-B318-763ABCBC5C9F}" destId="{60016195-89FF-4438-9112-1601583E9EEB}" srcOrd="0" destOrd="5" presId="urn:microsoft.com/office/officeart/2005/8/layout/hList1"/>
    <dgm:cxn modelId="{F31A4A88-26D9-42DD-8607-712E3034814B}" srcId="{7CF8799C-2247-4244-B62C-173E74CF91CE}" destId="{50FA1A30-0186-46DC-9FD7-369087A42391}" srcOrd="2" destOrd="0" parTransId="{B104C47F-1F66-4BC2-8B13-A2E87AF78800}" sibTransId="{F80BC82B-4EEC-40A6-8C61-7E59DA02383F}"/>
    <dgm:cxn modelId="{4DD8600D-AA08-4939-B562-A6F4525C5125}" type="presOf" srcId="{0024D8D5-E0C4-4C34-8212-D978AF2AAAF1}" destId="{D2D01F5D-1A1F-4A9A-95F5-04FFADD1ABCE}" srcOrd="0" destOrd="5" presId="urn:microsoft.com/office/officeart/2005/8/layout/hList1"/>
    <dgm:cxn modelId="{D752215B-E63F-42FB-BB6B-3C9CCCC4A1B7}" srcId="{DAC33A44-4CD3-4074-A9CC-ACC696472F21}" destId="{915594E5-DEB7-49E4-B4B7-A07EC1EFED85}" srcOrd="4" destOrd="0" parTransId="{7F50E098-14B3-460D-8262-9C0684C92238}" sibTransId="{053516F7-3D3C-44D5-8BB3-64E3302EEC83}"/>
    <dgm:cxn modelId="{BFB8F6B7-CC0B-4C96-A2FB-F03F6A1C11CD}" srcId="{30A77FFA-1A4D-4C1A-978A-8EC0CBE5F9F4}" destId="{DEC1AED0-581E-4C0D-AAFC-3853CFEBEDEE}" srcOrd="3" destOrd="0" parTransId="{CCB18009-EB16-46F6-9544-90E410975B63}" sibTransId="{E21AA184-E889-4424-81C4-3707B4D21CD7}"/>
    <dgm:cxn modelId="{5E273965-55CC-4CF6-BD6E-AD1F64838BDB}" type="presOf" srcId="{B8A86A4A-B1F4-4C8A-9829-30C6F5E34264}" destId="{B9C07D96-C124-4F23-B113-54427EB327A8}" srcOrd="0" destOrd="0" presId="urn:microsoft.com/office/officeart/2005/8/layout/hList1"/>
    <dgm:cxn modelId="{4968D0AB-D9CE-4C53-8137-1019FC1F33AE}" type="presOf" srcId="{7CF8799C-2247-4244-B62C-173E74CF91CE}" destId="{88BB2D48-0C61-4EA6-80DA-C9637EA53F33}" srcOrd="0" destOrd="0" presId="urn:microsoft.com/office/officeart/2005/8/layout/hList1"/>
    <dgm:cxn modelId="{35395701-1B84-4588-87CA-3D4C4FB143DA}" srcId="{6F1398CD-C389-4B9D-B51F-38AAD2F4A7A6}" destId="{30A77FFA-1A4D-4C1A-978A-8EC0CBE5F9F4}" srcOrd="1" destOrd="0" parTransId="{4E1FCB70-16EA-47E4-92C4-64FE464EE4C4}" sibTransId="{A1E747EA-936A-492A-B021-3AEAA7E39BB3}"/>
    <dgm:cxn modelId="{81618ED2-44B3-46D9-BDA9-24FF29AACF43}" type="presOf" srcId="{9D50EC2F-E843-4ED6-965A-F57A112C3086}" destId="{B9C07D96-C124-4F23-B113-54427EB327A8}" srcOrd="0" destOrd="4" presId="urn:microsoft.com/office/officeart/2005/8/layout/hList1"/>
    <dgm:cxn modelId="{FF013357-26C9-455D-BF55-DE2309F3DD29}" type="presOf" srcId="{3F6C3C19-1990-48BD-8FE9-562814854071}" destId="{B9C07D96-C124-4F23-B113-54427EB327A8}" srcOrd="0" destOrd="5" presId="urn:microsoft.com/office/officeart/2005/8/layout/hList1"/>
    <dgm:cxn modelId="{1AF83459-0A30-477F-950C-EA08EFE3C4CC}" type="presOf" srcId="{0A750677-792F-48A6-B14C-8AD8A1374F1C}" destId="{D2D01F5D-1A1F-4A9A-95F5-04FFADD1ABCE}" srcOrd="0" destOrd="4" presId="urn:microsoft.com/office/officeart/2005/8/layout/hList1"/>
    <dgm:cxn modelId="{8065D458-AFB8-4593-A900-B34CD04EF36F}" srcId="{7CF8799C-2247-4244-B62C-173E74CF91CE}" destId="{9D50EC2F-E843-4ED6-965A-F57A112C3086}" srcOrd="4" destOrd="0" parTransId="{2DF9C39D-681C-4C7E-9A92-80D8C509DE05}" sibTransId="{15869B15-3635-4752-8775-4208CB90828C}"/>
    <dgm:cxn modelId="{AEABA50D-C76D-4373-922E-871625773724}" type="presOf" srcId="{18B01C24-56C6-44D3-A378-DD0E998DA44E}" destId="{60016195-89FF-4438-9112-1601583E9EEB}" srcOrd="0" destOrd="1" presId="urn:microsoft.com/office/officeart/2005/8/layout/hList1"/>
    <dgm:cxn modelId="{49799F21-412F-43E0-9816-CCE10538EE1D}" srcId="{DAC33A44-4CD3-4074-A9CC-ACC696472F21}" destId="{342BAEC8-B2B8-49BB-9EA0-09974793B619}" srcOrd="0" destOrd="0" parTransId="{8A5114CB-207E-404E-9FF8-E12776922826}" sibTransId="{4CD73F89-CDA7-4E6F-8858-9CFBBCBEDA50}"/>
    <dgm:cxn modelId="{03816D2A-EAC5-4076-8110-36B982800918}" type="presOf" srcId="{342BAEC8-B2B8-49BB-9EA0-09974793B619}" destId="{60016195-89FF-4438-9112-1601583E9EEB}" srcOrd="0" destOrd="0" presId="urn:microsoft.com/office/officeart/2005/8/layout/hList1"/>
    <dgm:cxn modelId="{0D3E5729-9AC8-4DF9-9690-160C9A8B45C8}" srcId="{DAC33A44-4CD3-4074-A9CC-ACC696472F21}" destId="{18B01C24-56C6-44D3-A378-DD0E998DA44E}" srcOrd="1" destOrd="0" parTransId="{5CDC57F8-4D3A-4394-82BE-D172E866315E}" sibTransId="{B7D12A9A-D1DB-4F44-9E0C-FE07C9435A49}"/>
    <dgm:cxn modelId="{6E2215B5-4290-46ED-AA86-5B24508A062F}" srcId="{30A77FFA-1A4D-4C1A-978A-8EC0CBE5F9F4}" destId="{0024D8D5-E0C4-4C34-8212-D978AF2AAAF1}" srcOrd="5" destOrd="0" parTransId="{96BE9C82-BE51-47D1-B3FF-4D8F2CC6E4BF}" sibTransId="{7D7B62CC-B5A8-42E2-83A6-7432EAB765D0}"/>
    <dgm:cxn modelId="{31C5717F-A0D5-4BF1-82B3-9169BB30E246}" srcId="{30A77FFA-1A4D-4C1A-978A-8EC0CBE5F9F4}" destId="{C798F38F-5ED1-4FD7-91B3-7971587EF063}" srcOrd="0" destOrd="0" parTransId="{59E6B711-984E-47C6-A736-8EF9120952A2}" sibTransId="{6B5FE7AD-F1F1-4058-9A9D-F66CF4C5D5E2}"/>
    <dgm:cxn modelId="{98DCC2BE-3E6C-4C9E-BF13-56E7F0390A2A}" srcId="{30A77FFA-1A4D-4C1A-978A-8EC0CBE5F9F4}" destId="{C6FBAED1-3EAC-4263-8561-471B5B139488}" srcOrd="1" destOrd="0" parTransId="{B791A86A-6F81-48A9-80F2-E40D566C952F}" sibTransId="{15117796-2AA3-4838-AA0E-29E9DA60DB90}"/>
    <dgm:cxn modelId="{A6A6FD39-0DC4-4B17-98E4-F627C941AEE1}" type="presOf" srcId="{915594E5-DEB7-49E4-B4B7-A07EC1EFED85}" destId="{60016195-89FF-4438-9112-1601583E9EEB}" srcOrd="0" destOrd="4" presId="urn:microsoft.com/office/officeart/2005/8/layout/hList1"/>
    <dgm:cxn modelId="{692E497B-D61A-4BDB-8275-00336E0E6C59}" srcId="{7CF8799C-2247-4244-B62C-173E74CF91CE}" destId="{B8A86A4A-B1F4-4C8A-9829-30C6F5E34264}" srcOrd="0" destOrd="0" parTransId="{4FD000D0-8DA2-4588-A237-06BF0C3EA2FA}" sibTransId="{E231BA3A-A46F-46B9-9B82-EBAFE83324A4}"/>
    <dgm:cxn modelId="{2C96C813-03DC-4F66-A9B8-6E18AFA839D2}" srcId="{DAC33A44-4CD3-4074-A9CC-ACC696472F21}" destId="{B7E6D0F4-163D-411E-ABDF-656C64CA1F82}" srcOrd="3" destOrd="0" parTransId="{756B337F-BE4D-4A89-941A-B0C10E339AFD}" sibTransId="{BC1B00B2-972D-47B6-BFFD-8DA87FED39BE}"/>
    <dgm:cxn modelId="{4DE551DC-7D67-4F71-BEE0-126C6DF614BF}" srcId="{6F1398CD-C389-4B9D-B51F-38AAD2F4A7A6}" destId="{DAC33A44-4CD3-4074-A9CC-ACC696472F21}" srcOrd="0" destOrd="0" parTransId="{4F02987E-2741-43D6-A8F7-FDAF816F5144}" sibTransId="{C51E7B12-F5F7-4F29-A2CD-FBCB4564FE18}"/>
    <dgm:cxn modelId="{B98233E5-4E40-4408-BE3C-674DB5C8AC24}" type="presOf" srcId="{DEC1AED0-581E-4C0D-AAFC-3853CFEBEDEE}" destId="{D2D01F5D-1A1F-4A9A-95F5-04FFADD1ABCE}" srcOrd="0" destOrd="3" presId="urn:microsoft.com/office/officeart/2005/8/layout/hList1"/>
    <dgm:cxn modelId="{A9B4DF05-3037-4637-A3C9-F91CB35D38B4}" srcId="{6F1398CD-C389-4B9D-B51F-38AAD2F4A7A6}" destId="{7CF8799C-2247-4244-B62C-173E74CF91CE}" srcOrd="2" destOrd="0" parTransId="{02052D4E-2D9D-4B80-8528-94A622CC361D}" sibTransId="{11FC0FB3-95EA-4A35-9018-D4A361AEB803}"/>
    <dgm:cxn modelId="{3F1FF0BD-8EF0-45F4-9F36-B8C4B74F8DC2}" type="presOf" srcId="{30A77FFA-1A4D-4C1A-978A-8EC0CBE5F9F4}" destId="{B43110B1-729A-4233-A853-33BA23D850F0}" srcOrd="0" destOrd="0" presId="urn:microsoft.com/office/officeart/2005/8/layout/hList1"/>
    <dgm:cxn modelId="{D3C6339B-10CB-4A02-9829-1B1BD8E7A0BA}" srcId="{30A77FFA-1A4D-4C1A-978A-8EC0CBE5F9F4}" destId="{0A750677-792F-48A6-B14C-8AD8A1374F1C}" srcOrd="4" destOrd="0" parTransId="{4F66C6BE-3985-4855-80D1-5FA8AD853E9C}" sibTransId="{C916DFF5-3503-46D0-BD07-F9709BEE6BE6}"/>
    <dgm:cxn modelId="{7118BD49-9985-47BC-B557-43E5E296CD27}" type="presOf" srcId="{ED63C987-3635-474F-8B0E-B5F178574AAC}" destId="{D2D01F5D-1A1F-4A9A-95F5-04FFADD1ABCE}" srcOrd="0" destOrd="2" presId="urn:microsoft.com/office/officeart/2005/8/layout/hList1"/>
    <dgm:cxn modelId="{1A8AEEB9-C594-4591-90FC-706A3C4B51E9}" type="presOf" srcId="{DAC33A44-4CD3-4074-A9CC-ACC696472F21}" destId="{0F2EEC2B-01DA-4E23-B866-D7AA6CEDDC3B}" srcOrd="0" destOrd="0" presId="urn:microsoft.com/office/officeart/2005/8/layout/hList1"/>
    <dgm:cxn modelId="{1B22FF8A-D954-4F3A-B54D-72F3FEEEE4C7}" type="presOf" srcId="{6F1398CD-C389-4B9D-B51F-38AAD2F4A7A6}" destId="{AB730BC5-055E-4F3D-882D-67F1A4FDB28F}" srcOrd="0" destOrd="0" presId="urn:microsoft.com/office/officeart/2005/8/layout/hList1"/>
    <dgm:cxn modelId="{AE2BC7F4-68B1-4B52-B1FE-E6F97143FF92}" srcId="{DAC33A44-4CD3-4074-A9CC-ACC696472F21}" destId="{2DDF463F-D6CB-439C-A908-ECBF8AD37230}" srcOrd="2" destOrd="0" parTransId="{0D184D9A-6D4A-42CE-A667-8EA97DBB47F1}" sibTransId="{C22630E5-6B04-43DC-96A3-316EA4DDC4E4}"/>
    <dgm:cxn modelId="{4261A80C-FAB3-4E41-9C84-1221CA8C5D7A}" type="presOf" srcId="{0825006C-9A65-4179-B4C0-71A25CEEE1D9}" destId="{B9C07D96-C124-4F23-B113-54427EB327A8}" srcOrd="0" destOrd="3" presId="urn:microsoft.com/office/officeart/2005/8/layout/hList1"/>
    <dgm:cxn modelId="{C10057B7-345E-4C8E-A01D-52A02A3155EA}" srcId="{DAC33A44-4CD3-4074-A9CC-ACC696472F21}" destId="{D013C363-0E90-4710-B318-763ABCBC5C9F}" srcOrd="5" destOrd="0" parTransId="{F0586AF4-527D-4A98-AEE1-77F4F672D3A1}" sibTransId="{4E97B933-D942-4245-99C2-37996DE88C45}"/>
    <dgm:cxn modelId="{C71B74D6-75EC-474F-A22D-37B7AC52EE9E}" type="presOf" srcId="{50FA1A30-0186-46DC-9FD7-369087A42391}" destId="{B9C07D96-C124-4F23-B113-54427EB327A8}" srcOrd="0" destOrd="2" presId="urn:microsoft.com/office/officeart/2005/8/layout/hList1"/>
    <dgm:cxn modelId="{21689828-CF8A-4E6D-AD84-B48C3EA8B0DD}" srcId="{7CF8799C-2247-4244-B62C-173E74CF91CE}" destId="{3F6C3C19-1990-48BD-8FE9-562814854071}" srcOrd="5" destOrd="0" parTransId="{F64BA03E-4885-4EEE-9FE1-3E5756425D46}" sibTransId="{6C06F6EE-C3E4-4406-9468-69F66B92F774}"/>
    <dgm:cxn modelId="{CD0F4977-B65E-4C04-862E-1208A23AD19F}" srcId="{7CF8799C-2247-4244-B62C-173E74CF91CE}" destId="{0825006C-9A65-4179-B4C0-71A25CEEE1D9}" srcOrd="3" destOrd="0" parTransId="{4CAE3F02-8BCC-4C69-9298-9B086153697C}" sibTransId="{38D647B7-FFB0-403F-8C30-1470A22D4C24}"/>
    <dgm:cxn modelId="{259F2DE1-1951-4AA2-A27D-E22D34262D28}" type="presParOf" srcId="{AB730BC5-055E-4F3D-882D-67F1A4FDB28F}" destId="{58290610-1BAE-497B-87EC-6DBDC5259910}" srcOrd="0" destOrd="0" presId="urn:microsoft.com/office/officeart/2005/8/layout/hList1"/>
    <dgm:cxn modelId="{412A9D25-1C93-4F1A-A3B6-0D248F491251}" type="presParOf" srcId="{58290610-1BAE-497B-87EC-6DBDC5259910}" destId="{0F2EEC2B-01DA-4E23-B866-D7AA6CEDDC3B}" srcOrd="0" destOrd="0" presId="urn:microsoft.com/office/officeart/2005/8/layout/hList1"/>
    <dgm:cxn modelId="{256F1424-5EE2-4C5A-ADD0-B1A32E02B06B}" type="presParOf" srcId="{58290610-1BAE-497B-87EC-6DBDC5259910}" destId="{60016195-89FF-4438-9112-1601583E9EEB}" srcOrd="1" destOrd="0" presId="urn:microsoft.com/office/officeart/2005/8/layout/hList1"/>
    <dgm:cxn modelId="{5B4B38FD-4A01-4EC4-A37F-0475DE2A01B6}" type="presParOf" srcId="{AB730BC5-055E-4F3D-882D-67F1A4FDB28F}" destId="{39E0F4F7-D1FA-433E-8CBA-C3ADB73C5C62}" srcOrd="1" destOrd="0" presId="urn:microsoft.com/office/officeart/2005/8/layout/hList1"/>
    <dgm:cxn modelId="{E81C3FC7-2ED7-4B6C-8717-A56216029F6D}" type="presParOf" srcId="{AB730BC5-055E-4F3D-882D-67F1A4FDB28F}" destId="{B1F5DA03-4741-4ED4-83AC-E4DEB42FF9D9}" srcOrd="2" destOrd="0" presId="urn:microsoft.com/office/officeart/2005/8/layout/hList1"/>
    <dgm:cxn modelId="{83A35468-64FE-453E-9444-51FCF645BE2E}" type="presParOf" srcId="{B1F5DA03-4741-4ED4-83AC-E4DEB42FF9D9}" destId="{B43110B1-729A-4233-A853-33BA23D850F0}" srcOrd="0" destOrd="0" presId="urn:microsoft.com/office/officeart/2005/8/layout/hList1"/>
    <dgm:cxn modelId="{82625F39-48CC-4DB5-97A2-1C33269ED4D3}" type="presParOf" srcId="{B1F5DA03-4741-4ED4-83AC-E4DEB42FF9D9}" destId="{D2D01F5D-1A1F-4A9A-95F5-04FFADD1ABCE}" srcOrd="1" destOrd="0" presId="urn:microsoft.com/office/officeart/2005/8/layout/hList1"/>
    <dgm:cxn modelId="{9F5D086D-03F2-48BD-83BA-F0F376C2342B}" type="presParOf" srcId="{AB730BC5-055E-4F3D-882D-67F1A4FDB28F}" destId="{4E3C033F-01CA-4A9A-979C-455E2EF6A12A}" srcOrd="3" destOrd="0" presId="urn:microsoft.com/office/officeart/2005/8/layout/hList1"/>
    <dgm:cxn modelId="{DE964C1D-089E-422B-A48C-0F69FB1C5DF9}" type="presParOf" srcId="{AB730BC5-055E-4F3D-882D-67F1A4FDB28F}" destId="{E8FA1A25-BD00-4CA8-B706-3E64F62AD2C9}" srcOrd="4" destOrd="0" presId="urn:microsoft.com/office/officeart/2005/8/layout/hList1"/>
    <dgm:cxn modelId="{34802CD2-38B6-4CBE-8DAE-1FAE46C48EEB}" type="presParOf" srcId="{E8FA1A25-BD00-4CA8-B706-3E64F62AD2C9}" destId="{88BB2D48-0C61-4EA6-80DA-C9637EA53F33}" srcOrd="0" destOrd="0" presId="urn:microsoft.com/office/officeart/2005/8/layout/hList1"/>
    <dgm:cxn modelId="{3D89A966-9579-4CAA-817F-29E0621D23D4}" type="presParOf" srcId="{E8FA1A25-BD00-4CA8-B706-3E64F62AD2C9}" destId="{B9C07D96-C124-4F23-B113-54427EB327A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A598E-97A5-41F0-8B05-EFCA44FFBB82}">
      <dsp:nvSpPr>
        <dsp:cNvPr id="0" name=""/>
        <dsp:cNvSpPr/>
      </dsp:nvSpPr>
      <dsp:spPr>
        <a:xfrm>
          <a:off x="697826" y="0"/>
          <a:ext cx="3169096" cy="3169096"/>
        </a:xfrm>
        <a:prstGeom prst="triangl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9FE4E9-3425-4137-A71B-35B95AE41B6B}">
      <dsp:nvSpPr>
        <dsp:cNvPr id="0" name=""/>
        <dsp:cNvSpPr/>
      </dsp:nvSpPr>
      <dsp:spPr>
        <a:xfrm>
          <a:off x="2282374" y="318611"/>
          <a:ext cx="2059913" cy="75018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Ключевые партнеры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&gt;100</a:t>
          </a:r>
          <a:r>
            <a:rPr lang="ru-RU" sz="800" kern="1200" dirty="0" smtClean="0"/>
            <a:t>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индивидуальные коммуникации, уникальные соглашения о намереньях </a:t>
          </a:r>
          <a:r>
            <a:rPr lang="en-US" sz="800" kern="1200" dirty="0" smtClean="0"/>
            <a:t>B2B</a:t>
          </a:r>
          <a:endParaRPr lang="ru-RU" sz="800" kern="1200" dirty="0"/>
        </a:p>
      </dsp:txBody>
      <dsp:txXfrm>
        <a:off x="2318995" y="355232"/>
        <a:ext cx="1986671" cy="676942"/>
      </dsp:txXfrm>
    </dsp:sp>
    <dsp:sp modelId="{452BB841-219D-4568-8F7F-02699D6D6FA6}">
      <dsp:nvSpPr>
        <dsp:cNvPr id="0" name=""/>
        <dsp:cNvSpPr/>
      </dsp:nvSpPr>
      <dsp:spPr>
        <a:xfrm>
          <a:off x="2282374" y="1162569"/>
          <a:ext cx="2059913" cy="75018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Компании-участники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&gt;1</a:t>
          </a:r>
          <a:r>
            <a:rPr lang="ru-RU" sz="800" kern="1200" dirty="0" smtClean="0"/>
            <a:t> </a:t>
          </a:r>
          <a:r>
            <a:rPr lang="en-US" sz="800" kern="1200" dirty="0" smtClean="0"/>
            <a:t>000</a:t>
          </a:r>
          <a:endParaRPr lang="ru-RU" sz="800" kern="1200" dirty="0" smtClean="0"/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типовые процессы для коммуникаций,  регламенты для грантов и инвестиций</a:t>
          </a:r>
          <a:endParaRPr lang="ru-RU" sz="800" kern="1200" dirty="0"/>
        </a:p>
      </dsp:txBody>
      <dsp:txXfrm>
        <a:off x="2318995" y="1199190"/>
        <a:ext cx="1986671" cy="676942"/>
      </dsp:txXfrm>
    </dsp:sp>
    <dsp:sp modelId="{7ECABA1B-BB89-4AA5-8AF4-46FBE0ED3DB6}">
      <dsp:nvSpPr>
        <dsp:cNvPr id="0" name=""/>
        <dsp:cNvSpPr/>
      </dsp:nvSpPr>
      <dsp:spPr>
        <a:xfrm>
          <a:off x="2282374" y="2006527"/>
          <a:ext cx="2059913" cy="75018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Интернет аудитория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&gt; 100 000</a:t>
          </a:r>
          <a:endParaRPr lang="ru-RU" sz="800" kern="1200" dirty="0" smtClean="0"/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коммуникации через онлайн сообщество</a:t>
          </a:r>
          <a:endParaRPr lang="en-US" sz="800" kern="1200" dirty="0" smtClean="0"/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Персональное финансирование</a:t>
          </a:r>
          <a:endParaRPr lang="ru-RU" sz="800" kern="1200" dirty="0"/>
        </a:p>
      </dsp:txBody>
      <dsp:txXfrm>
        <a:off x="2318995" y="2043148"/>
        <a:ext cx="1986671" cy="6769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18D264-BFA9-431F-B3DD-F858D0156AF0}">
      <dsp:nvSpPr>
        <dsp:cNvPr id="0" name=""/>
        <dsp:cNvSpPr/>
      </dsp:nvSpPr>
      <dsp:spPr>
        <a:xfrm>
          <a:off x="2736303" y="72007"/>
          <a:ext cx="3456384" cy="3456384"/>
        </a:xfrm>
        <a:prstGeom prst="ellipse">
          <a:avLst/>
        </a:prstGeom>
        <a:solidFill>
          <a:srgbClr val="92D05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1. 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Построение эффективной среды для решения  проблем пользователей</a:t>
          </a:r>
          <a:r>
            <a:rPr lang="en-US" sz="1300" kern="1200" dirty="0" smtClean="0"/>
            <a:t> </a:t>
          </a:r>
          <a:r>
            <a:rPr lang="ru-RU" sz="1300" kern="1200" dirty="0" smtClean="0"/>
            <a:t>онлайн-сообщества Сколково.</a:t>
          </a:r>
          <a:endParaRPr lang="ru-RU" sz="1300" kern="1200" dirty="0"/>
        </a:p>
      </dsp:txBody>
      <dsp:txXfrm>
        <a:off x="3197155" y="676875"/>
        <a:ext cx="2534681" cy="1555372"/>
      </dsp:txXfrm>
    </dsp:sp>
    <dsp:sp modelId="{549B6C4B-EF92-47D9-8255-6A0A4999E2B8}">
      <dsp:nvSpPr>
        <dsp:cNvPr id="0" name=""/>
        <dsp:cNvSpPr/>
      </dsp:nvSpPr>
      <dsp:spPr>
        <a:xfrm>
          <a:off x="3983482" y="2232248"/>
          <a:ext cx="3456384" cy="3456384"/>
        </a:xfrm>
        <a:prstGeom prst="ellipse">
          <a:avLst/>
        </a:prstGeom>
        <a:solidFill>
          <a:schemeClr val="accent5">
            <a:alpha val="50000"/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3. </a:t>
          </a:r>
        </a:p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Решение задач Фонда по взаимодействию с традиционными профессиональными сообществами, переводу их в онлайн.</a:t>
          </a:r>
          <a:endParaRPr lang="ru-RU" sz="1300" kern="1200" dirty="0"/>
        </a:p>
      </dsp:txBody>
      <dsp:txXfrm>
        <a:off x="5040560" y="3125147"/>
        <a:ext cx="2073830" cy="1901011"/>
      </dsp:txXfrm>
    </dsp:sp>
    <dsp:sp modelId="{7777095F-EDC6-4674-96C2-9146FEC44584}">
      <dsp:nvSpPr>
        <dsp:cNvPr id="0" name=""/>
        <dsp:cNvSpPr/>
      </dsp:nvSpPr>
      <dsp:spPr>
        <a:xfrm>
          <a:off x="1489125" y="2232248"/>
          <a:ext cx="3456384" cy="3456384"/>
        </a:xfrm>
        <a:prstGeom prst="ellipse">
          <a:avLst/>
        </a:prstGeom>
        <a:solidFill>
          <a:srgbClr val="00B05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2. Формирование  инструмента для внешнего управления инициативами Фонда. Выработка кодексов и ценностей Фонда на основании внешнего воздействия онлайн-сообщества.</a:t>
          </a:r>
          <a:endParaRPr lang="ru-RU" sz="1300" kern="1200" dirty="0"/>
        </a:p>
      </dsp:txBody>
      <dsp:txXfrm>
        <a:off x="1814601" y="3125147"/>
        <a:ext cx="2073830" cy="190101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2EEC2B-01DA-4E23-B866-D7AA6CEDDC3B}">
      <dsp:nvSpPr>
        <dsp:cNvPr id="0" name=""/>
        <dsp:cNvSpPr/>
      </dsp:nvSpPr>
      <dsp:spPr>
        <a:xfrm>
          <a:off x="2632" y="745376"/>
          <a:ext cx="2566972" cy="76304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Информационное направление</a:t>
          </a:r>
          <a:endParaRPr lang="ru-RU" sz="2100" kern="1200" dirty="0"/>
        </a:p>
      </dsp:txBody>
      <dsp:txXfrm>
        <a:off x="2632" y="745376"/>
        <a:ext cx="2566972" cy="763045"/>
      </dsp:txXfrm>
    </dsp:sp>
    <dsp:sp modelId="{60016195-89FF-4438-9112-1601583E9EEB}">
      <dsp:nvSpPr>
        <dsp:cNvPr id="0" name=""/>
        <dsp:cNvSpPr/>
      </dsp:nvSpPr>
      <dsp:spPr>
        <a:xfrm>
          <a:off x="2632" y="1508422"/>
          <a:ext cx="2566972" cy="3818981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err="1" smtClean="0"/>
            <a:t>Инфоцентр</a:t>
          </a:r>
          <a:r>
            <a:rPr lang="ru-RU" sz="2100" kern="1200" dirty="0" smtClean="0"/>
            <a:t>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Новости Фонда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События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Спецпроекты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Обсуждения.</a:t>
          </a:r>
          <a:endParaRPr lang="ru-RU" sz="2100" kern="1200" dirty="0"/>
        </a:p>
      </dsp:txBody>
      <dsp:txXfrm>
        <a:off x="2632" y="1508422"/>
        <a:ext cx="2566972" cy="3818981"/>
      </dsp:txXfrm>
    </dsp:sp>
    <dsp:sp modelId="{B43110B1-729A-4233-A853-33BA23D850F0}">
      <dsp:nvSpPr>
        <dsp:cNvPr id="0" name=""/>
        <dsp:cNvSpPr/>
      </dsp:nvSpPr>
      <dsp:spPr>
        <a:xfrm>
          <a:off x="2928981" y="745376"/>
          <a:ext cx="2566972" cy="76304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Сервисное направление </a:t>
          </a:r>
          <a:endParaRPr lang="ru-RU" sz="2100" kern="1200" dirty="0"/>
        </a:p>
      </dsp:txBody>
      <dsp:txXfrm>
        <a:off x="2928981" y="745376"/>
        <a:ext cx="2566972" cy="763045"/>
      </dsp:txXfrm>
    </dsp:sp>
    <dsp:sp modelId="{D2D01F5D-1A1F-4A9A-95F5-04FFADD1ABCE}">
      <dsp:nvSpPr>
        <dsp:cNvPr id="0" name=""/>
        <dsp:cNvSpPr/>
      </dsp:nvSpPr>
      <dsp:spPr>
        <a:xfrm>
          <a:off x="2928981" y="1508422"/>
          <a:ext cx="2566972" cy="3818981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Услуги кадрового центра Технопарка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smtClean="0"/>
            <a:t>Заявка на грант, 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Заявка на получение статуса участника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Образовательные сервисы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и др.</a:t>
          </a:r>
          <a:endParaRPr lang="ru-RU" sz="2100" kern="1200" dirty="0"/>
        </a:p>
      </dsp:txBody>
      <dsp:txXfrm>
        <a:off x="2928981" y="1508422"/>
        <a:ext cx="2566972" cy="3818981"/>
      </dsp:txXfrm>
    </dsp:sp>
    <dsp:sp modelId="{88BB2D48-0C61-4EA6-80DA-C9637EA53F33}">
      <dsp:nvSpPr>
        <dsp:cNvPr id="0" name=""/>
        <dsp:cNvSpPr/>
      </dsp:nvSpPr>
      <dsp:spPr>
        <a:xfrm>
          <a:off x="5855330" y="745376"/>
          <a:ext cx="2566972" cy="76304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err="1" smtClean="0"/>
            <a:t>Коллаборационное</a:t>
          </a:r>
          <a:r>
            <a:rPr lang="ru-RU" sz="2100" kern="1200" dirty="0" smtClean="0"/>
            <a:t> направление</a:t>
          </a:r>
          <a:endParaRPr lang="ru-RU" sz="2100" kern="1200" dirty="0"/>
        </a:p>
      </dsp:txBody>
      <dsp:txXfrm>
        <a:off x="5855330" y="745376"/>
        <a:ext cx="2566972" cy="763045"/>
      </dsp:txXfrm>
    </dsp:sp>
    <dsp:sp modelId="{B9C07D96-C124-4F23-B113-54427EB327A8}">
      <dsp:nvSpPr>
        <dsp:cNvPr id="0" name=""/>
        <dsp:cNvSpPr/>
      </dsp:nvSpPr>
      <dsp:spPr>
        <a:xfrm>
          <a:off x="5855330" y="1508422"/>
          <a:ext cx="2566972" cy="3818981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Вовлечение людей для совместного «делания» в онлайн сообществе,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err="1" smtClean="0"/>
            <a:t>Обуждения</a:t>
          </a:r>
          <a:r>
            <a:rPr lang="ru-RU" sz="2100" kern="1200" dirty="0" smtClean="0"/>
            <a:t>, 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Голосования, 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Генерация идей, </a:t>
          </a:r>
          <a:endParaRPr lang="ru-RU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kern="1200" dirty="0" smtClean="0"/>
            <a:t>и др.</a:t>
          </a:r>
          <a:endParaRPr lang="ru-RU" sz="2100" kern="1200" dirty="0"/>
        </a:p>
      </dsp:txBody>
      <dsp:txXfrm>
        <a:off x="5855330" y="1508422"/>
        <a:ext cx="2566972" cy="38189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5FF2F32-13B0-42FB-9D3B-0E1B3EE2B1FA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28826FB-F604-4DE5-8B2D-2710EC2578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23360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430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BF57539-F902-4F2E-8E06-021FD2A0F19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522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CE749FF-5299-487B-AF90-BD25DAEA003D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593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AFE1A7F-000A-4CF4-A99E-EBB2980C3B82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2.emf"/><Relationship Id="rId4" Type="http://schemas.openxmlformats.org/officeDocument/2006/relationships/tags" Target="../tags/tag8.xml"/><Relationship Id="rId9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1.xml"/><Relationship Id="rId15" Type="http://schemas.openxmlformats.org/officeDocument/2006/relationships/image" Target="../media/image4.png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2.emf"/><Relationship Id="rId4" Type="http://schemas.openxmlformats.org/officeDocument/2006/relationships/tags" Target="../tags/tag28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2.emf"/><Relationship Id="rId4" Type="http://schemas.openxmlformats.org/officeDocument/2006/relationships/tags" Target="../tags/tag34.xml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image" Target="../media/image2.emf"/><Relationship Id="rId4" Type="http://schemas.openxmlformats.org/officeDocument/2006/relationships/tags" Target="../tags/tag40.xml"/><Relationship Id="rId9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2.emf"/><Relationship Id="rId4" Type="http://schemas.openxmlformats.org/officeDocument/2006/relationships/tags" Target="../tags/tag46.xml"/><Relationship Id="rId9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2.emf"/><Relationship Id="rId4" Type="http://schemas.openxmlformats.org/officeDocument/2006/relationships/tags" Target="../tags/tag52.xml"/><Relationship Id="rId9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9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2.emf"/><Relationship Id="rId4" Type="http://schemas.openxmlformats.org/officeDocument/2006/relationships/tags" Target="../tags/tag58.xml"/><Relationship Id="rId9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6.xml"/><Relationship Id="rId7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9.xml"/><Relationship Id="rId7" Type="http://schemas.openxmlformats.org/officeDocument/2006/relationships/image" Target="../media/image2.emf"/><Relationship Id="rId2" Type="http://schemas.openxmlformats.org/officeDocument/2006/relationships/tags" Target="../tags/tag6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2.xml"/><Relationship Id="rId7" Type="http://schemas.openxmlformats.org/officeDocument/2006/relationships/image" Target="../media/image2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image" Target="../media/image2.emf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image" Target="../media/image6.png"/><Relationship Id="rId5" Type="http://schemas.openxmlformats.org/officeDocument/2006/relationships/tags" Target="../tags/tag88.xml"/><Relationship Id="rId10" Type="http://schemas.openxmlformats.org/officeDocument/2006/relationships/image" Target="../media/image2.emf"/><Relationship Id="rId4" Type="http://schemas.openxmlformats.org/officeDocument/2006/relationships/tags" Target="../tags/tag87.xml"/><Relationship Id="rId9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A4750-54F8-46D4-AFBA-FC85C377F927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DE661B-095D-4233-9365-1E403CCD01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700A1-3565-4808-A0DA-E8397DC41766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A495DA-2298-48B6-A71D-85FB723C277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297B24-E6AE-4570-89ED-5090F93C7C11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E4C9B-E57F-4ECF-84E0-E3291552A5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"/>
          <p:cNvSpPr/>
          <p:nvPr userDrawn="1">
            <p:custDataLst>
              <p:tags r:id="rId1"/>
            </p:custDataLst>
          </p:nvPr>
        </p:nvSpPr>
        <p:spPr>
          <a:xfrm>
            <a:off x="896938" y="115888"/>
            <a:ext cx="81280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Прямоугольник 5"/>
          <p:cNvSpPr/>
          <p:nvPr userDrawn="1">
            <p:custDataLst>
              <p:tags r:id="rId2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6"/>
          <p:cNvSpPr/>
          <p:nvPr userDrawn="1">
            <p:custDataLst>
              <p:tags r:id="rId3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7"/>
          <p:cNvSpPr/>
          <p:nvPr userDrawn="1">
            <p:custDataLst>
              <p:tags r:id="rId4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Заголовок 4"/>
          <p:cNvSpPr txBox="1">
            <a:spLocks/>
          </p:cNvSpPr>
          <p:nvPr userDrawn="1"/>
        </p:nvSpPr>
        <p:spPr>
          <a:xfrm>
            <a:off x="896938" y="115888"/>
            <a:ext cx="8062912" cy="865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317990" y="1341438"/>
            <a:ext cx="8442080" cy="4751387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96816" y="115891"/>
            <a:ext cx="8128602" cy="86518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68CCC11D-4270-4002-A38C-9141C477DD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dirty="0" smtClean="0"/>
          </a:p>
        </p:txBody>
      </p:sp>
      <p:sp>
        <p:nvSpPr>
          <p:cNvPr id="7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9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9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9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9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9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896815" y="115889"/>
            <a:ext cx="8159262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932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7C947080-3FB6-4F12-B53D-1F1C4EB75927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6" name="Объект 6"/>
          <p:cNvSpPr txBox="1">
            <a:spLocks/>
          </p:cNvSpPr>
          <p:nvPr userDrawn="1"/>
        </p:nvSpPr>
        <p:spPr>
          <a:xfrm>
            <a:off x="106363" y="1123950"/>
            <a:ext cx="8896350" cy="5287963"/>
          </a:xfrm>
          <a:prstGeom prst="rect">
            <a:avLst/>
          </a:prstGeom>
        </p:spPr>
        <p:txBody>
          <a:bodyPr/>
          <a:lstStyle/>
          <a:p>
            <a:pPr marL="357188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Образец текста</a:t>
            </a:r>
          </a:p>
          <a:p>
            <a:pPr marL="714375" lvl="1" indent="-35083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Второй уровень</a:t>
            </a:r>
          </a:p>
          <a:p>
            <a:pPr marL="1071563" lvl="2" indent="-3698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ретий уровень</a:t>
            </a:r>
          </a:p>
          <a:p>
            <a:pPr marL="1797050" lvl="3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Четвертый уровень</a:t>
            </a:r>
          </a:p>
          <a:p>
            <a:pPr marL="2154238" lvl="4" indent="-357188" eaLnBrk="0" hangingPunct="0">
              <a:spcBef>
                <a:spcPts val="600"/>
              </a:spcBef>
              <a:buClr>
                <a:srgbClr val="7DB935"/>
              </a:buClr>
              <a:buSzPct val="100000"/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ятый уровень</a:t>
            </a:r>
          </a:p>
        </p:txBody>
      </p:sp>
      <p:sp>
        <p:nvSpPr>
          <p:cNvPr id="7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05775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1" name="Заголовок 5"/>
          <p:cNvSpPr txBox="1">
            <a:spLocks/>
          </p:cNvSpPr>
          <p:nvPr userDrawn="1"/>
        </p:nvSpPr>
        <p:spPr>
          <a:xfrm>
            <a:off x="896938" y="115888"/>
            <a:ext cx="7970837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1588" y="4763"/>
            <a:ext cx="9142412" cy="685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9C1201D5-844B-428D-9077-720A916B737B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6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5975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8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4" y="115888"/>
            <a:ext cx="8159262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684FE1EF-B5B3-4C33-B069-2B64C1536A07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6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67687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Заголовок 5"/>
          <p:cNvSpPr txBox="1">
            <a:spLocks/>
          </p:cNvSpPr>
          <p:nvPr userDrawn="1"/>
        </p:nvSpPr>
        <p:spPr>
          <a:xfrm>
            <a:off x="896938" y="115888"/>
            <a:ext cx="7970837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5" y="4406919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4000" b="1" cap="all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46BC3402-F351-4AE3-9EB3-4838CB7A3E3E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7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5975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6978" y="1114427"/>
            <a:ext cx="4245219" cy="5457825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itchFamily="34" charset="0"/>
                <a:cs typeface="Calibri" pitchFamily="34" charset="0"/>
              </a:defRPr>
            </a:lvl1pPr>
            <a:lvl2pPr>
              <a:defRPr sz="1600">
                <a:latin typeface="Calibri" pitchFamily="34" charset="0"/>
                <a:cs typeface="Calibri" pitchFamily="34" charset="0"/>
              </a:defRPr>
            </a:lvl2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200">
                <a:latin typeface="Calibri" pitchFamily="34" charset="0"/>
                <a:cs typeface="Calibri" pitchFamily="34" charset="0"/>
              </a:defRPr>
            </a:lvl4pPr>
            <a:lvl5pPr>
              <a:defRPr sz="1200">
                <a:latin typeface="Calibri" pitchFamily="34" charset="0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9" y="1114427"/>
            <a:ext cx="4431323" cy="5457825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itchFamily="34" charset="0"/>
                <a:cs typeface="Calibri" pitchFamily="34" charset="0"/>
              </a:defRPr>
            </a:lvl1pPr>
            <a:lvl2pPr>
              <a:defRPr sz="1600">
                <a:latin typeface="Calibri" pitchFamily="34" charset="0"/>
                <a:cs typeface="Calibri" pitchFamily="34" charset="0"/>
              </a:defRPr>
            </a:lvl2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200">
                <a:latin typeface="Calibri" pitchFamily="34" charset="0"/>
                <a:cs typeface="Calibri" pitchFamily="34" charset="0"/>
              </a:defRPr>
            </a:lvl4pPr>
            <a:lvl5pPr>
              <a:defRPr sz="1200">
                <a:latin typeface="Calibri" pitchFamily="34" charset="0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2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7F47149F-859D-4717-BFE7-60E75075E85F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153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974" y="1087456"/>
            <a:ext cx="4390292" cy="78447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06974" y="1871910"/>
            <a:ext cx="4390292" cy="470034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Calibri" pitchFamily="34" charset="0"/>
                <a:cs typeface="Calibri" pitchFamily="34" charset="0"/>
              </a:defRPr>
            </a:lvl1pPr>
            <a:lvl2pPr>
              <a:defRPr sz="1400">
                <a:latin typeface="Calibri" pitchFamily="34" charset="0"/>
                <a:cs typeface="Calibri" pitchFamily="34" charset="0"/>
              </a:defRPr>
            </a:lvl2pPr>
            <a:lvl3pPr>
              <a:defRPr sz="1200">
                <a:latin typeface="Calibri" pitchFamily="34" charset="0"/>
                <a:cs typeface="Calibri" pitchFamily="34" charset="0"/>
              </a:defRPr>
            </a:lvl3pPr>
            <a:lvl4pPr>
              <a:defRPr sz="1100">
                <a:latin typeface="Calibri" pitchFamily="34" charset="0"/>
                <a:cs typeface="Calibri" pitchFamily="34" charset="0"/>
              </a:defRPr>
            </a:lvl4pPr>
            <a:lvl5pPr>
              <a:defRPr sz="11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269" y="1087456"/>
            <a:ext cx="4366846" cy="78447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269" y="1871910"/>
            <a:ext cx="4366846" cy="470034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Calibri" pitchFamily="34" charset="0"/>
                <a:cs typeface="Calibri" pitchFamily="34" charset="0"/>
              </a:defRPr>
            </a:lvl1pPr>
            <a:lvl2pPr>
              <a:defRPr sz="1400">
                <a:latin typeface="Calibri" pitchFamily="34" charset="0"/>
                <a:cs typeface="Calibri" pitchFamily="34" charset="0"/>
              </a:defRPr>
            </a:lvl2pPr>
            <a:lvl3pPr>
              <a:defRPr sz="1200">
                <a:latin typeface="Calibri" pitchFamily="34" charset="0"/>
                <a:cs typeface="Calibri" pitchFamily="34" charset="0"/>
              </a:defRPr>
            </a:lvl3pPr>
            <a:lvl4pPr>
              <a:defRPr sz="1100">
                <a:latin typeface="Calibri" pitchFamily="34" charset="0"/>
                <a:cs typeface="Calibri" pitchFamily="34" charset="0"/>
              </a:defRPr>
            </a:lvl4pPr>
            <a:lvl5pPr>
              <a:defRPr sz="11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15299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49EAB647-1665-4EF9-AAC4-7AFB430249CA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50225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6850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6850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6850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Заголовок 5"/>
          <p:cNvSpPr txBox="1">
            <a:spLocks/>
          </p:cNvSpPr>
          <p:nvPr userDrawn="1"/>
        </p:nvSpPr>
        <p:spPr>
          <a:xfrm>
            <a:off x="896938" y="115888"/>
            <a:ext cx="8150225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4450" y="96838"/>
            <a:ext cx="7268308" cy="7159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8032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/>
          <p:nvPr userDrawn="1"/>
        </p:nvSpPr>
        <p:spPr>
          <a:xfrm>
            <a:off x="803275" y="0"/>
            <a:ext cx="8340725" cy="576263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692696"/>
            <a:ext cx="8784976" cy="60486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7E102EF5-CED7-4ACD-A671-24F259224973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5975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8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2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skolkovo2 шапка_1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4"/>
          <p:cNvSpPr txBox="1"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17029EB1-0C00-40E9-8A85-DF40E4C89EA3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skolkovo2 шапка_1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4"/>
          <p:cNvSpPr txBox="1"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31CB609B-5D4E-48B9-9C5A-3E731C47FADC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skolkovo2 шапка_1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 txBox="1"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5F736E40-46FB-4054-9F11-6EFB3050B90D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4450" y="96838"/>
            <a:ext cx="7268308" cy="7159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65235" y="1568450"/>
            <a:ext cx="8317523" cy="46101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skolkovo2 шапка_1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 txBox="1"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86B7C24F-2D9C-4D2D-9D0C-B3FF92C7B6E5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17323" y="593728"/>
            <a:ext cx="2152650" cy="55848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56452" y="593728"/>
            <a:ext cx="6320203" cy="55848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27E91E6B-471E-4941-96D1-4B3B35990475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8" name="Объект 6"/>
          <p:cNvSpPr txBox="1">
            <a:spLocks/>
          </p:cNvSpPr>
          <p:nvPr userDrawn="1"/>
        </p:nvSpPr>
        <p:spPr>
          <a:xfrm>
            <a:off x="106363" y="1123950"/>
            <a:ext cx="8896350" cy="5287963"/>
          </a:xfrm>
          <a:prstGeom prst="rect">
            <a:avLst/>
          </a:prstGeom>
        </p:spPr>
        <p:txBody>
          <a:bodyPr/>
          <a:lstStyle/>
          <a:p>
            <a:pPr marL="357188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Образец текста</a:t>
            </a:r>
          </a:p>
          <a:p>
            <a:pPr marL="714375" lvl="1" indent="-35083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Второй уровень</a:t>
            </a:r>
          </a:p>
          <a:p>
            <a:pPr marL="1071563" lvl="2" indent="-3698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ретий уровень</a:t>
            </a:r>
          </a:p>
          <a:p>
            <a:pPr marL="1797050" lvl="3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Четвертый уровень</a:t>
            </a:r>
          </a:p>
          <a:p>
            <a:pPr marL="2154238" lvl="4" indent="-357188" eaLnBrk="0" hangingPunct="0">
              <a:spcBef>
                <a:spcPts val="600"/>
              </a:spcBef>
              <a:buClr>
                <a:srgbClr val="7DB935"/>
              </a:buClr>
              <a:buSzPct val="100000"/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ятый уровень</a:t>
            </a:r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05775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3" name="Заголовок 5"/>
          <p:cNvSpPr txBox="1">
            <a:spLocks/>
          </p:cNvSpPr>
          <p:nvPr userDrawn="1"/>
        </p:nvSpPr>
        <p:spPr>
          <a:xfrm>
            <a:off x="896938" y="115888"/>
            <a:ext cx="7970837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14" name="Прямоугольник 4"/>
          <p:cNvSpPr/>
          <p:nvPr userDrawn="1">
            <p:custDataLst>
              <p:tags r:id="rId8"/>
            </p:custDataLst>
          </p:nvPr>
        </p:nvSpPr>
        <p:spPr>
          <a:xfrm>
            <a:off x="896938" y="115888"/>
            <a:ext cx="81280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5" name="Прямоугольник 5"/>
          <p:cNvSpPr/>
          <p:nvPr userDrawn="1">
            <p:custDataLst>
              <p:tags r:id="rId9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6" name="Прямоугольник 6"/>
          <p:cNvSpPr/>
          <p:nvPr userDrawn="1">
            <p:custDataLst>
              <p:tags r:id="rId10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7" name="Прямоугольник 7"/>
          <p:cNvSpPr/>
          <p:nvPr userDrawn="1">
            <p:custDataLst>
              <p:tags r:id="rId11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8" name="Заголовок 4"/>
          <p:cNvSpPr txBox="1">
            <a:spLocks/>
          </p:cNvSpPr>
          <p:nvPr userDrawn="1"/>
        </p:nvSpPr>
        <p:spPr>
          <a:xfrm>
            <a:off x="896938" y="115888"/>
            <a:ext cx="8061325" cy="865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317990" y="1341438"/>
            <a:ext cx="8442080" cy="4751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96816" y="115888"/>
            <a:ext cx="8128602" cy="865187"/>
          </a:xfrm>
          <a:prstGeom prst="rect">
            <a:avLst/>
          </a:prstGeo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487363" y="6429375"/>
            <a:ext cx="496887" cy="306388"/>
          </a:xfrm>
          <a:prstGeom prst="rect">
            <a:avLst/>
          </a:prstGeom>
        </p:spPr>
        <p:txBody>
          <a:bodyPr/>
          <a:lstStyle>
            <a:lvl1pPr eaLnBrk="0" hangingPunct="0">
              <a:defRPr sz="1400" b="1"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fld id="{D00EE9A6-81BB-4D9F-8151-24FB1945D52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F17828E1-C00A-4672-BE53-F506CEE9CD72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5" name="Объект 6"/>
          <p:cNvSpPr txBox="1">
            <a:spLocks/>
          </p:cNvSpPr>
          <p:nvPr userDrawn="1"/>
        </p:nvSpPr>
        <p:spPr>
          <a:xfrm>
            <a:off x="106363" y="1123950"/>
            <a:ext cx="8896350" cy="5287963"/>
          </a:xfrm>
          <a:prstGeom prst="rect">
            <a:avLst/>
          </a:prstGeom>
        </p:spPr>
        <p:txBody>
          <a:bodyPr/>
          <a:lstStyle/>
          <a:p>
            <a:pPr marL="357188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Образец текста</a:t>
            </a:r>
          </a:p>
          <a:p>
            <a:pPr marL="714375" lvl="1" indent="-35083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Второй уровень</a:t>
            </a:r>
          </a:p>
          <a:p>
            <a:pPr marL="1071563" lvl="2" indent="-3698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ретий уровень</a:t>
            </a:r>
          </a:p>
          <a:p>
            <a:pPr marL="1797050" lvl="3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Четвертый уровень</a:t>
            </a:r>
          </a:p>
          <a:p>
            <a:pPr marL="2154238" lvl="4" indent="-357188" eaLnBrk="0" hangingPunct="0">
              <a:spcBef>
                <a:spcPts val="600"/>
              </a:spcBef>
              <a:buClr>
                <a:srgbClr val="7DB935"/>
              </a:buClr>
              <a:buSzPct val="100000"/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ятый уровень</a:t>
            </a:r>
          </a:p>
        </p:txBody>
      </p:sp>
      <p:sp>
        <p:nvSpPr>
          <p:cNvPr id="6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938" y="115888"/>
            <a:ext cx="8105775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7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8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9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Заголовок 5"/>
          <p:cNvSpPr txBox="1">
            <a:spLocks/>
          </p:cNvSpPr>
          <p:nvPr userDrawn="1"/>
        </p:nvSpPr>
        <p:spPr>
          <a:xfrm>
            <a:off x="896938" y="115888"/>
            <a:ext cx="7970837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1588" y="0"/>
            <a:ext cx="91424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643438" y="131764"/>
            <a:ext cx="4393058" cy="1568450"/>
          </a:xfrm>
          <a:prstGeom prst="rect">
            <a:avLst/>
          </a:prstGeom>
        </p:spPr>
        <p:txBody>
          <a:bodyPr lIns="68415" tIns="34208" rIns="68415" bIns="34208"/>
          <a:lstStyle>
            <a:lvl1pPr algn="l">
              <a:defRPr lang="ru-RU" sz="2500" b="1" kern="1200" cap="small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3A9910-5A99-4277-8278-1F5A75D05EC2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33CC88-0766-4548-9FF9-8FA03696D0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261DA-6B32-46D4-840D-18AC26DA6C10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43D37C-631C-4195-9471-1058E110E7C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697ED-CC30-4EA1-BEDB-0183FCCE23EC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00B997-8328-44E2-9D43-2CC443988D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36C776-2B6B-46FB-B0FC-CB85C8C005D8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55DB9-A9BB-48EF-BE51-979715D30D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38EA4F-C2EC-4951-B80F-9B8C8EAE1831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4C110E-4290-4423-8917-AACC2C578C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86E544-04A7-410D-A367-F03ADFD12B6A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690AA-35F4-4135-90BE-7EBCC3ED1D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51ED88-462B-48B8-8920-0CF4EBFFF2BB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CCD8B-0E97-4900-B521-648673A39DE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7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2.v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CA96B55-9FF2-4D37-8C03-555AEC3A74D6}" type="datetimeFigureOut">
              <a:rPr lang="ru-RU"/>
              <a:pPr>
                <a:defRPr/>
              </a:pPr>
              <a:t>21.06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C3168B8-A13E-42D9-AA0B-D22360DBC2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5" r:id="rId3"/>
    <p:sldLayoutId id="2147483684" r:id="rId4"/>
    <p:sldLayoutId id="2147483683" r:id="rId5"/>
    <p:sldLayoutId id="2147483682" r:id="rId6"/>
    <p:sldLayoutId id="2147483681" r:id="rId7"/>
    <p:sldLayoutId id="2147483680" r:id="rId8"/>
    <p:sldLayoutId id="2147483679" r:id="rId9"/>
    <p:sldLayoutId id="2147483678" r:id="rId10"/>
    <p:sldLayoutId id="2147483677" r:id="rId11"/>
    <p:sldLayoutId id="2147483688" r:id="rId12"/>
    <p:sldLayoutId id="2147483702" r:id="rId13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7" name="Object 89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17"/>
            </p:custDataLst>
          </p:nvPr>
        </p:nvSpPr>
        <p:spPr bwMode="auto">
          <a:xfrm>
            <a:off x="8372475" y="6572250"/>
            <a:ext cx="495300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31AB66EC-35D1-4E36-9EA9-E6E9CFE9A5F0}" type="slidenum">
              <a:rPr lang="en-US" sz="1200" smtClean="0">
                <a:solidFill>
                  <a:prstClr val="black"/>
                </a:solidFill>
              </a:rPr>
              <a:pPr algn="r" eaLnBrk="0" hangingPunct="0"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8" name="Объект 6"/>
          <p:cNvSpPr txBox="1">
            <a:spLocks/>
          </p:cNvSpPr>
          <p:nvPr userDrawn="1"/>
        </p:nvSpPr>
        <p:spPr>
          <a:xfrm>
            <a:off x="106363" y="1123950"/>
            <a:ext cx="8896350" cy="5287963"/>
          </a:xfrm>
          <a:prstGeom prst="rect">
            <a:avLst/>
          </a:prstGeom>
        </p:spPr>
        <p:txBody>
          <a:bodyPr/>
          <a:lstStyle/>
          <a:p>
            <a:pPr marL="357188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Образец текста</a:t>
            </a:r>
          </a:p>
          <a:p>
            <a:pPr marL="714375" lvl="1" indent="-35083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Второй уровень</a:t>
            </a:r>
          </a:p>
          <a:p>
            <a:pPr marL="1071563" lvl="2" indent="-3698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ретий уровень</a:t>
            </a:r>
          </a:p>
          <a:p>
            <a:pPr marL="1797050" lvl="3" indent="-357188" eaLnBrk="0" hangingPunct="0">
              <a:spcBef>
                <a:spcPts val="600"/>
              </a:spcBef>
              <a:buClr>
                <a:srgbClr val="7DB935"/>
              </a:buClr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Четвертый уровень</a:t>
            </a:r>
          </a:p>
          <a:p>
            <a:pPr marL="2154238" lvl="4" indent="-357188" eaLnBrk="0" hangingPunct="0">
              <a:spcBef>
                <a:spcPts val="600"/>
              </a:spcBef>
              <a:buClr>
                <a:srgbClr val="7DB935"/>
              </a:buClr>
              <a:buSzPct val="100000"/>
              <a:buFont typeface="Arial" charset="0"/>
              <a:buChar char="‒"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ятый уровень</a:t>
            </a:r>
          </a:p>
        </p:txBody>
      </p:sp>
      <p:sp>
        <p:nvSpPr>
          <p:cNvPr id="9" name="Прямоугольник 4"/>
          <p:cNvSpPr/>
          <p:nvPr userDrawn="1">
            <p:custDataLst>
              <p:tags r:id="rId18"/>
            </p:custDataLst>
          </p:nvPr>
        </p:nvSpPr>
        <p:spPr>
          <a:xfrm>
            <a:off x="896938" y="115888"/>
            <a:ext cx="8105775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19"/>
            </p:custDataLst>
          </p:nvPr>
        </p:nvSpPr>
        <p:spPr>
          <a:xfrm>
            <a:off x="3714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20"/>
            </p:custDataLst>
          </p:nvPr>
        </p:nvSpPr>
        <p:spPr>
          <a:xfrm>
            <a:off x="106363" y="115888"/>
            <a:ext cx="192087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21"/>
            </p:custDataLst>
          </p:nvPr>
        </p:nvSpPr>
        <p:spPr>
          <a:xfrm>
            <a:off x="638175" y="115888"/>
            <a:ext cx="192088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white"/>
              </a:solidFill>
              <a:cs typeface="Arial"/>
              <a:sym typeface="Helvetica"/>
            </a:endParaRPr>
          </a:p>
        </p:txBody>
      </p:sp>
      <p:sp>
        <p:nvSpPr>
          <p:cNvPr id="13" name="Заголовок 5"/>
          <p:cNvSpPr txBox="1">
            <a:spLocks/>
          </p:cNvSpPr>
          <p:nvPr userDrawn="1"/>
        </p:nvSpPr>
        <p:spPr>
          <a:xfrm>
            <a:off x="896938" y="115888"/>
            <a:ext cx="7970837" cy="865187"/>
          </a:xfrm>
          <a:prstGeom prst="rect">
            <a:avLst/>
          </a:prstGeom>
        </p:spPr>
        <p:txBody>
          <a:bodyPr anchor="ctr"/>
          <a:lstStyle/>
          <a:p>
            <a:pPr eaLnBrk="0" hangingPunct="0"/>
            <a:r>
              <a:rPr lang="ru-RU" sz="240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2pPr>
      <a:lvl3pPr marL="2278063" indent="111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1600">
          <a:solidFill>
            <a:schemeClr val="tx1"/>
          </a:solidFill>
          <a:latin typeface="+mj-lt"/>
        </a:defRPr>
      </a:lvl3pPr>
      <a:lvl4pPr marL="2403475" indent="-10318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indent="-688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2974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6pPr>
      <a:lvl7pPr marL="34321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Ideation_(idea_generation)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hyperlink" Target="http://www.webofstories.com/" TargetMode="External"/><Relationship Id="rId7" Type="http://schemas.openxmlformats.org/officeDocument/2006/relationships/hyperlink" Target="https://dl.dropbox.com/u/5926307/Video.flv" TargetMode="External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labroots.com/" TargetMode="External"/><Relationship Id="rId11" Type="http://schemas.openxmlformats.org/officeDocument/2006/relationships/image" Target="../media/image15.png"/><Relationship Id="rId5" Type="http://schemas.openxmlformats.org/officeDocument/2006/relationships/hyperlink" Target="http://f1000.com/about/whatis" TargetMode="External"/><Relationship Id="rId10" Type="http://schemas.openxmlformats.org/officeDocument/2006/relationships/image" Target="../media/image14.png"/><Relationship Id="rId4" Type="http://schemas.openxmlformats.org/officeDocument/2006/relationships/hyperlink" Target="http://sciencenavigation.com/" TargetMode="External"/><Relationship Id="rId9" Type="http://schemas.openxmlformats.org/officeDocument/2006/relationships/image" Target="../media/image13.w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Заголовок 3"/>
          <p:cNvSpPr>
            <a:spLocks noGrp="1"/>
          </p:cNvSpPr>
          <p:nvPr>
            <p:ph type="ctrTitle"/>
          </p:nvPr>
        </p:nvSpPr>
        <p:spPr bwMode="auto">
          <a:xfrm>
            <a:off x="5148263" y="2889250"/>
            <a:ext cx="3897312" cy="1079500"/>
          </a:xfrm>
          <a:noFill/>
          <a:ln>
            <a:miter lim="800000"/>
            <a:headEnd/>
            <a:tailEnd/>
          </a:ln>
        </p:spPr>
        <p:txBody>
          <a:bodyPr vert="horz" wrap="square" lIns="36000" tIns="34208" rIns="36000" bIns="34208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0" smtClean="0">
                <a:latin typeface="Calibri" pitchFamily="34" charset="0"/>
                <a:sym typeface="Helvetica" pitchFamily="34" charset="0"/>
              </a:rPr>
              <a:t>Онлайн сообщество</a:t>
            </a:r>
            <a:r>
              <a:rPr lang="en-US" sz="2800" b="0" smtClean="0">
                <a:latin typeface="Calibri" pitchFamily="34" charset="0"/>
                <a:sym typeface="Helvetica" pitchFamily="34" charset="0"/>
              </a:rPr>
              <a:t/>
            </a:r>
            <a:br>
              <a:rPr lang="en-US" sz="2800" b="0" smtClean="0">
                <a:latin typeface="Calibri" pitchFamily="34" charset="0"/>
                <a:sym typeface="Helvetica" pitchFamily="34" charset="0"/>
              </a:rPr>
            </a:br>
            <a:r>
              <a:rPr lang="ru-RU" sz="2800" b="0" smtClean="0">
                <a:latin typeface="Calibri" pitchFamily="34" charset="0"/>
                <a:sym typeface="Helvetica" pitchFamily="34" charset="0"/>
              </a:rPr>
              <a:t>«Виртуальное Сколково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055330" y="44624"/>
            <a:ext cx="697305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/>
              <a:t>Пример конкурса в сообществе Виртуальное Сколково </a:t>
            </a:r>
            <a:endParaRPr lang="ru-RU" sz="2000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950" y="828675"/>
            <a:ext cx="6642100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734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120775" y="0"/>
            <a:ext cx="6902450" cy="576263"/>
          </a:xfrm>
        </p:spPr>
        <p:txBody>
          <a:bodyPr/>
          <a:lstStyle/>
          <a:p>
            <a:r>
              <a:rPr lang="ru-RU" sz="2000" smtClean="0"/>
              <a:t>Цели программы</a:t>
            </a:r>
            <a:r>
              <a:rPr lang="en-US" sz="2000" smtClean="0"/>
              <a:t> </a:t>
            </a:r>
            <a:r>
              <a:rPr lang="ru-RU" sz="2000" smtClean="0"/>
              <a:t>«Виртуальное Сколково»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</p:nvPr>
        </p:nvGraphicFramePr>
        <p:xfrm>
          <a:off x="107504" y="980728"/>
          <a:ext cx="8928992" cy="5760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A00F8F6B-CC85-4DB6-9435-A25A44EC75C1}" type="slidenum">
              <a:rPr lang="ru-RU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50825" y="692150"/>
            <a:ext cx="8785225" cy="6049963"/>
          </a:xfrm>
        </p:spPr>
        <p:txBody>
          <a:bodyPr rtlCol="0">
            <a:normAutofit fontScale="92500" lnSpcReduction="20000"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dirty="0" smtClean="0"/>
              <a:t>Капитализация в онлайн сообществе активностей Фонда. Создание в представительств для профессиональных ассоциаций, мероприятий, процессов обучения, </a:t>
            </a:r>
            <a:r>
              <a:rPr lang="ru-RU" sz="2400" dirty="0" err="1" smtClean="0"/>
              <a:t>и.т.п</a:t>
            </a:r>
            <a:r>
              <a:rPr lang="ru-RU" sz="2400" dirty="0" smtClean="0"/>
              <a:t>.  с целью вовлечения предпринимателей.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2400" dirty="0" smtClean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dirty="0" smtClean="0"/>
              <a:t>Внедрение сервисов для онлайн сообщества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Сервис </a:t>
            </a:r>
            <a:r>
              <a:rPr lang="en-US" sz="2000" dirty="0"/>
              <a:t>Research &amp; </a:t>
            </a:r>
            <a:r>
              <a:rPr lang="en-US" sz="2000" dirty="0" smtClean="0"/>
              <a:t>Publishing (</a:t>
            </a:r>
            <a:r>
              <a:rPr lang="ru-RU" sz="2000" dirty="0" smtClean="0"/>
              <a:t>новый, см. описание далее)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Сервис Каталог компаний-участников (развитие)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Сервис </a:t>
            </a:r>
            <a:r>
              <a:rPr lang="en-US" sz="2000" dirty="0" smtClean="0"/>
              <a:t> </a:t>
            </a:r>
            <a:r>
              <a:rPr lang="ru-RU" sz="2000" dirty="0" smtClean="0"/>
              <a:t>Дистанционного обучения (новый)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Сервис Проведения </a:t>
            </a:r>
            <a:r>
              <a:rPr lang="en-US" sz="2000" dirty="0" smtClean="0"/>
              <a:t>crowdsourcing </a:t>
            </a:r>
            <a:r>
              <a:rPr lang="ru-RU" sz="2000" dirty="0" smtClean="0"/>
              <a:t>мероприятий (новый)</a:t>
            </a:r>
            <a:endParaRPr lang="en-US" sz="2000" dirty="0" smtClean="0"/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Сервис </a:t>
            </a:r>
            <a:r>
              <a:rPr lang="ru-RU" sz="2000" dirty="0" err="1" smtClean="0"/>
              <a:t>Сколковопедия</a:t>
            </a:r>
            <a:r>
              <a:rPr lang="ru-RU" sz="2000" dirty="0" smtClean="0"/>
              <a:t> (новый, см. описание далее</a:t>
            </a:r>
            <a:r>
              <a:rPr lang="en-US" sz="2000" dirty="0" smtClean="0"/>
              <a:t>)</a:t>
            </a:r>
          </a:p>
          <a:p>
            <a:pPr marL="457200" lvl="1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 smtClean="0"/>
              <a:t> 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dirty="0" smtClean="0"/>
              <a:t>Расширение функциональности социальной платформы онлайн сообщества (</a:t>
            </a:r>
            <a:r>
              <a:rPr lang="en-US" sz="2400" dirty="0" smtClean="0"/>
              <a:t>Telligent)</a:t>
            </a:r>
            <a:endParaRPr lang="ru-RU" sz="2400" dirty="0" smtClean="0"/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Внедрение готовых модулей из </a:t>
            </a:r>
            <a:r>
              <a:rPr lang="en-US" sz="2000" dirty="0" smtClean="0"/>
              <a:t> Telligent Market</a:t>
            </a:r>
            <a:r>
              <a:rPr lang="ru-RU" sz="2000" dirty="0" smtClean="0"/>
              <a:t> </a:t>
            </a:r>
            <a:r>
              <a:rPr lang="en-US" sz="2000" dirty="0" smtClean="0"/>
              <a:t>(</a:t>
            </a:r>
            <a:r>
              <a:rPr lang="en-US" sz="2000" dirty="0" smtClean="0">
                <a:hlinkClick r:id="rId2"/>
              </a:rPr>
              <a:t>ideation</a:t>
            </a:r>
            <a:r>
              <a:rPr lang="ru-RU" sz="2000" dirty="0" smtClean="0"/>
              <a:t>, и др.)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en-US" sz="2000" dirty="0" err="1" smtClean="0"/>
              <a:t>Look&amp;feel</a:t>
            </a:r>
            <a:r>
              <a:rPr lang="ru-RU" sz="2000" dirty="0"/>
              <a:t> </a:t>
            </a:r>
            <a:r>
              <a:rPr lang="ru-RU" sz="2000" dirty="0" smtClean="0"/>
              <a:t>(улучшение внешнего вида интерфейса)</a:t>
            </a:r>
            <a:endParaRPr lang="ru-RU" sz="2000" dirty="0"/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en-US" sz="2000" dirty="0" smtClean="0"/>
              <a:t>Usability</a:t>
            </a:r>
            <a:r>
              <a:rPr lang="ru-RU" sz="2000" dirty="0" smtClean="0"/>
              <a:t> (улучшение характеристик пользовательского интерфейса)</a:t>
            </a:r>
            <a:endParaRPr lang="en-US" sz="2000" dirty="0" smtClean="0"/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Переход на доменное имя </a:t>
            </a:r>
            <a:r>
              <a:rPr lang="en-US" sz="2000" dirty="0" smtClean="0"/>
              <a:t> my.sk.ru</a:t>
            </a:r>
            <a:endParaRPr lang="ru-RU" sz="2000" dirty="0" smtClean="0"/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ru-RU" sz="2000" dirty="0" smtClean="0"/>
              <a:t>Развитие профилей участников сообщества (отображение достижений в рамках онлайн-сообщества)</a:t>
            </a:r>
            <a:endParaRPr lang="ru-RU" sz="2400" dirty="0"/>
          </a:p>
        </p:txBody>
      </p:sp>
      <p:sp>
        <p:nvSpPr>
          <p:cNvPr id="53250" name="Заголовок 1"/>
          <p:cNvSpPr txBox="1">
            <a:spLocks/>
          </p:cNvSpPr>
          <p:nvPr/>
        </p:nvSpPr>
        <p:spPr bwMode="auto">
          <a:xfrm>
            <a:off x="1120775" y="0"/>
            <a:ext cx="69024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Задачи виртуального Сколково до 2015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Объект 1"/>
          <p:cNvSpPr>
            <a:spLocks noGrp="1"/>
          </p:cNvSpPr>
          <p:nvPr>
            <p:ph idx="1"/>
          </p:nvPr>
        </p:nvSpPr>
        <p:spPr>
          <a:xfrm>
            <a:off x="250825" y="692150"/>
            <a:ext cx="8785225" cy="6049963"/>
          </a:xfrm>
        </p:spPr>
        <p:txBody>
          <a:bodyPr/>
          <a:lstStyle/>
          <a:p>
            <a:endParaRPr lang="ru-RU" sz="2400" smtClean="0"/>
          </a:p>
          <a:p>
            <a:endParaRPr lang="ru-RU" sz="2400" smtClean="0"/>
          </a:p>
        </p:txBody>
      </p:sp>
      <p:sp>
        <p:nvSpPr>
          <p:cNvPr id="54274" name="Заголовок 1"/>
          <p:cNvSpPr txBox="1">
            <a:spLocks/>
          </p:cNvSpPr>
          <p:nvPr/>
        </p:nvSpPr>
        <p:spPr bwMode="auto">
          <a:xfrm>
            <a:off x="1120775" y="20638"/>
            <a:ext cx="69024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Направления проектов программы</a:t>
            </a:r>
            <a:r>
              <a:rPr lang="en-US" sz="2000">
                <a:latin typeface="Calibri" pitchFamily="34" charset="0"/>
              </a:rPr>
              <a:t> </a:t>
            </a:r>
            <a:r>
              <a:rPr lang="ru-RU" sz="2000">
                <a:latin typeface="Calibri" pitchFamily="34" charset="0"/>
              </a:rPr>
              <a:t>«Виртуальное Сколково»</a:t>
            </a:r>
          </a:p>
        </p:txBody>
      </p:sp>
      <p:graphicFrame>
        <p:nvGraphicFramePr>
          <p:cNvPr id="5" name="Схема 4"/>
          <p:cNvGraphicFramePr/>
          <p:nvPr/>
        </p:nvGraphicFramePr>
        <p:xfrm>
          <a:off x="467544" y="596579"/>
          <a:ext cx="8424936" cy="6072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692275" y="692150"/>
            <a:ext cx="7343775" cy="61214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u="sng" dirty="0">
                <a:hlinkClick r:id="rId3"/>
              </a:rPr>
              <a:t>http</a:t>
            </a:r>
            <a:r>
              <a:rPr lang="ru-RU" sz="1800" u="sng" dirty="0">
                <a:hlinkClick r:id="rId3"/>
              </a:rPr>
              <a:t>://</a:t>
            </a:r>
            <a:r>
              <a:rPr lang="en-US" sz="1800" u="sng" dirty="0">
                <a:hlinkClick r:id="rId3"/>
              </a:rPr>
              <a:t>www</a:t>
            </a:r>
            <a:r>
              <a:rPr lang="ru-RU" sz="1800" u="sng" dirty="0">
                <a:hlinkClick r:id="rId3"/>
              </a:rPr>
              <a:t>.</a:t>
            </a:r>
            <a:r>
              <a:rPr lang="en-US" sz="1800" u="sng" dirty="0">
                <a:hlinkClick r:id="rId3"/>
              </a:rPr>
              <a:t>webofstories</a:t>
            </a:r>
            <a:r>
              <a:rPr lang="ru-RU" sz="1800" u="sng" dirty="0">
                <a:hlinkClick r:id="rId3"/>
              </a:rPr>
              <a:t>.</a:t>
            </a:r>
            <a:r>
              <a:rPr lang="en-US" sz="1800" u="sng" dirty="0">
                <a:hlinkClick r:id="rId3"/>
              </a:rPr>
              <a:t>com</a:t>
            </a:r>
            <a:r>
              <a:rPr lang="ru-RU" sz="1800" u="sng" dirty="0">
                <a:hlinkClick r:id="rId3"/>
              </a:rPr>
              <a:t>/</a:t>
            </a:r>
            <a:r>
              <a:rPr lang="ru-RU" sz="1800" dirty="0"/>
              <a:t> - </a:t>
            </a:r>
            <a:r>
              <a:rPr lang="ru-RU" sz="1800" dirty="0" smtClean="0"/>
              <a:t>антология/истории/портреты </a:t>
            </a:r>
            <a:r>
              <a:rPr lang="ru-RU" sz="1800" dirty="0"/>
              <a:t>ученых, писателей, режиссеров и </a:t>
            </a:r>
            <a:r>
              <a:rPr lang="ru-RU" sz="1800" dirty="0" smtClean="0"/>
              <a:t>мыслителей </a:t>
            </a:r>
            <a:r>
              <a:rPr lang="ru-RU" sz="1800" dirty="0"/>
              <a:t>англоязычного </a:t>
            </a:r>
            <a:r>
              <a:rPr lang="ru-RU" sz="1800" dirty="0" smtClean="0"/>
              <a:t>мира. Можем сделать </a:t>
            </a:r>
            <a:r>
              <a:rPr lang="ru-RU" sz="1800" dirty="0"/>
              <a:t>что-то похоже для русскоязычного, потому что эти люди </a:t>
            </a:r>
            <a:r>
              <a:rPr lang="ru-RU" sz="1800" dirty="0" smtClean="0"/>
              <a:t>уходят (наследие).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800" dirty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800" dirty="0" smtClean="0"/>
              <a:t>Проекты </a:t>
            </a:r>
            <a:r>
              <a:rPr lang="ru-RU" sz="1800" dirty="0"/>
              <a:t>от </a:t>
            </a:r>
            <a:r>
              <a:rPr lang="ru-RU" sz="1800" dirty="0" smtClean="0"/>
              <a:t>группы </a:t>
            </a:r>
            <a:r>
              <a:rPr lang="en-US" sz="1800" dirty="0"/>
              <a:t>Faculty of</a:t>
            </a:r>
            <a:r>
              <a:rPr lang="ru-RU" sz="1800" dirty="0"/>
              <a:t> 1000 </a:t>
            </a:r>
            <a:r>
              <a:rPr lang="ru-RU" sz="1800" dirty="0" smtClean="0"/>
              <a:t>(</a:t>
            </a:r>
            <a:r>
              <a:rPr lang="en-US" sz="1800" u="sng" dirty="0" smtClean="0">
                <a:hlinkClick r:id="rId4"/>
              </a:rPr>
              <a:t>http</a:t>
            </a:r>
            <a:r>
              <a:rPr lang="ru-RU" sz="1800" u="sng" dirty="0">
                <a:hlinkClick r:id="rId4"/>
              </a:rPr>
              <a:t>://</a:t>
            </a:r>
            <a:r>
              <a:rPr lang="en-US" sz="1800" u="sng" dirty="0">
                <a:hlinkClick r:id="rId4"/>
              </a:rPr>
              <a:t>sciencenavigation</a:t>
            </a:r>
            <a:r>
              <a:rPr lang="ru-RU" sz="1800" u="sng" dirty="0">
                <a:hlinkClick r:id="rId4"/>
              </a:rPr>
              <a:t>.</a:t>
            </a:r>
            <a:r>
              <a:rPr lang="en-US" sz="1800" u="sng" dirty="0" smtClean="0">
                <a:hlinkClick r:id="rId4"/>
              </a:rPr>
              <a:t>com</a:t>
            </a:r>
            <a:r>
              <a:rPr lang="ru-RU" sz="1800" dirty="0" smtClean="0"/>
              <a:t>).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800" dirty="0" smtClean="0"/>
              <a:t>Проект </a:t>
            </a:r>
            <a:r>
              <a:rPr lang="en-US" sz="1800" u="sng" dirty="0">
                <a:hlinkClick r:id="rId5"/>
              </a:rPr>
              <a:t>http</a:t>
            </a:r>
            <a:r>
              <a:rPr lang="ru-RU" sz="1800" u="sng" dirty="0">
                <a:hlinkClick r:id="rId5"/>
              </a:rPr>
              <a:t>://</a:t>
            </a:r>
            <a:r>
              <a:rPr lang="en-US" sz="1800" u="sng" dirty="0">
                <a:hlinkClick r:id="rId5"/>
              </a:rPr>
              <a:t>f</a:t>
            </a:r>
            <a:r>
              <a:rPr lang="ru-RU" sz="1800" u="sng" dirty="0">
                <a:hlinkClick r:id="rId5"/>
              </a:rPr>
              <a:t>1000.</a:t>
            </a:r>
            <a:r>
              <a:rPr lang="en-US" sz="1800" u="sng" dirty="0">
                <a:hlinkClick r:id="rId5"/>
              </a:rPr>
              <a:t>com</a:t>
            </a:r>
            <a:r>
              <a:rPr lang="ru-RU" sz="1800" u="sng" dirty="0">
                <a:hlinkClick r:id="rId5"/>
              </a:rPr>
              <a:t>/</a:t>
            </a:r>
            <a:r>
              <a:rPr lang="en-US" sz="1800" u="sng" dirty="0">
                <a:hlinkClick r:id="rId5"/>
              </a:rPr>
              <a:t>about</a:t>
            </a:r>
            <a:r>
              <a:rPr lang="ru-RU" sz="1800" u="sng" dirty="0">
                <a:hlinkClick r:id="rId5"/>
              </a:rPr>
              <a:t>/</a:t>
            </a:r>
            <a:r>
              <a:rPr lang="en-US" sz="1800" u="sng" dirty="0">
                <a:hlinkClick r:id="rId5"/>
              </a:rPr>
              <a:t>whatis</a:t>
            </a:r>
            <a:r>
              <a:rPr lang="en-US" sz="1800" dirty="0"/>
              <a:t> </a:t>
            </a:r>
            <a:r>
              <a:rPr lang="ru-RU" sz="1800" dirty="0"/>
              <a:t>– это </a:t>
            </a:r>
            <a:r>
              <a:rPr lang="ru-RU" sz="1800" dirty="0" smtClean="0"/>
              <a:t>идентификация</a:t>
            </a:r>
            <a:r>
              <a:rPr lang="ru-RU" sz="1800" dirty="0"/>
              <a:t>, оценка, разработка и публикация научных статей в коллаборационном </a:t>
            </a:r>
            <a:r>
              <a:rPr lang="ru-RU" sz="1800" dirty="0" smtClean="0"/>
              <a:t>пространстве (</a:t>
            </a:r>
            <a:r>
              <a:rPr lang="en-US" sz="1800" dirty="0" smtClean="0"/>
              <a:t>Research &amp; Publishing)</a:t>
            </a:r>
            <a:r>
              <a:rPr lang="ru-RU" sz="1800" dirty="0" smtClean="0"/>
              <a:t>.</a:t>
            </a:r>
            <a:r>
              <a:rPr lang="ru-RU" sz="1800" dirty="0"/>
              <a:t> </a:t>
            </a:r>
            <a:r>
              <a:rPr lang="ru-RU" sz="1800" dirty="0" smtClean="0"/>
              <a:t> 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8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800" dirty="0" smtClean="0"/>
              <a:t>Проект </a:t>
            </a:r>
            <a:r>
              <a:rPr lang="ru-RU" sz="1800" dirty="0"/>
              <a:t>соц сети для ученых </a:t>
            </a:r>
            <a:r>
              <a:rPr lang="en-US" sz="1800" u="sng" dirty="0">
                <a:hlinkClick r:id="rId6"/>
              </a:rPr>
              <a:t>http</a:t>
            </a:r>
            <a:r>
              <a:rPr lang="ru-RU" sz="1800" u="sng" dirty="0">
                <a:hlinkClick r:id="rId6"/>
              </a:rPr>
              <a:t>://</a:t>
            </a:r>
            <a:r>
              <a:rPr lang="en-US" sz="1800" u="sng" dirty="0">
                <a:hlinkClick r:id="rId6"/>
              </a:rPr>
              <a:t>www</a:t>
            </a:r>
            <a:r>
              <a:rPr lang="ru-RU" sz="1800" u="sng" dirty="0">
                <a:hlinkClick r:id="rId6"/>
              </a:rPr>
              <a:t>.</a:t>
            </a:r>
            <a:r>
              <a:rPr lang="en-US" sz="1800" u="sng" dirty="0">
                <a:hlinkClick r:id="rId6"/>
              </a:rPr>
              <a:t>labroots</a:t>
            </a:r>
            <a:r>
              <a:rPr lang="ru-RU" sz="1800" u="sng" dirty="0">
                <a:hlinkClick r:id="rId6"/>
              </a:rPr>
              <a:t>.</a:t>
            </a:r>
            <a:r>
              <a:rPr lang="en-US" sz="1800" u="sng" dirty="0">
                <a:hlinkClick r:id="rId6"/>
              </a:rPr>
              <a:t>com</a:t>
            </a:r>
            <a:r>
              <a:rPr lang="ru-RU" sz="1800" u="sng" dirty="0">
                <a:hlinkClick r:id="rId6"/>
              </a:rPr>
              <a:t>/</a:t>
            </a:r>
            <a:r>
              <a:rPr lang="ru-RU" sz="1800" dirty="0"/>
              <a:t>, посмотрите видео на первой же странице про проект. Там реализованы все те сценарии коллаборации в исследованиях, организации работы и т.п</a:t>
            </a:r>
            <a:r>
              <a:rPr lang="ru-RU" sz="1800" dirty="0" smtClean="0"/>
              <a:t>.</a:t>
            </a:r>
            <a:endParaRPr lang="ru-RU" sz="1800" dirty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800" dirty="0"/>
          </a:p>
        </p:txBody>
      </p:sp>
      <p:sp>
        <p:nvSpPr>
          <p:cNvPr id="14382" name="Заголовок 1"/>
          <p:cNvSpPr txBox="1">
            <a:spLocks/>
          </p:cNvSpPr>
          <p:nvPr/>
        </p:nvSpPr>
        <p:spPr bwMode="auto">
          <a:xfrm>
            <a:off x="1295400" y="44450"/>
            <a:ext cx="65532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latin typeface="Calibri" pitchFamily="34" charset="0"/>
              </a:rPr>
              <a:t>НЕ </a:t>
            </a:r>
            <a:r>
              <a:rPr lang="ru-RU" sz="2000">
                <a:latin typeface="Calibri" pitchFamily="34" charset="0"/>
              </a:rPr>
              <a:t>придумывать, а локализовать  сервисы для Виртуального Сколково.</a:t>
            </a:r>
          </a:p>
        </p:txBody>
      </p:sp>
      <p:graphicFrame>
        <p:nvGraphicFramePr>
          <p:cNvPr id="14380" name="Object 44">
            <a:hlinkClick r:id="rId7"/>
          </p:cNvPr>
          <p:cNvGraphicFramePr>
            <a:graphicFrameLocks noChangeAspect="1"/>
          </p:cNvGraphicFramePr>
          <p:nvPr/>
        </p:nvGraphicFramePr>
        <p:xfrm>
          <a:off x="114300" y="5661025"/>
          <a:ext cx="1181100" cy="86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Объект упаковщика для оболочки" showAsIcon="1" r:id="rId8" imgW="1180440" imgH="863640" progId="Package">
                  <p:embed/>
                </p:oleObj>
              </mc:Choice>
              <mc:Fallback>
                <p:oleObj name="Объект упаковщика для оболочки" showAsIcon="1" r:id="rId8" imgW="1180440" imgH="863640" progId="Package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" y="5661025"/>
                        <a:ext cx="1181100" cy="863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83" name="Picture 2">
            <a:hlinkClick r:id="rId3"/>
          </p:cNvPr>
          <p:cNvPicPr>
            <a:picLocks noChangeAspect="1" noChangeArrowheads="1"/>
          </p:cNvPicPr>
          <p:nvPr/>
        </p:nvPicPr>
        <p:blipFill>
          <a:blip r:embed="rId10"/>
          <a:srcRect l="23830" t="9050" r="25854" b="12573"/>
          <a:stretch>
            <a:fillRect/>
          </a:stretch>
        </p:blipFill>
        <p:spPr bwMode="auto">
          <a:xfrm>
            <a:off x="107950" y="701675"/>
            <a:ext cx="1295400" cy="113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84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7463" y="2205038"/>
            <a:ext cx="1660525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85" name="Picture 4">
            <a:hlinkClick r:id="rId5"/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1438" y="3976688"/>
            <a:ext cx="1368425" cy="1204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50825" y="692150"/>
            <a:ext cx="8785225" cy="2881313"/>
          </a:xfrm>
        </p:spPr>
        <p:txBody>
          <a:bodyPr rtlCol="0">
            <a:normAutofit fontScale="55000" lnSpcReduction="20000"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 smtClean="0"/>
              <a:t>Сервис по </a:t>
            </a:r>
            <a:r>
              <a:rPr lang="ru-RU" dirty="0"/>
              <a:t>поддержанию </a:t>
            </a:r>
            <a:r>
              <a:rPr lang="en-US" dirty="0"/>
              <a:t>c </a:t>
            </a:r>
            <a:r>
              <a:rPr lang="ru-RU" dirty="0"/>
              <a:t>помощью Интернет технологий  информационно-интеллектуальной и организационно-финансовой инфраструктуры для совместных научных исследований, разработок и публикаций. Данная программа направлена на сравнительно быстрое (срок запуска программы 1-2 года, выход на полную мощность – 3-5 лет) повышение эффективности и качественного уровня научных исследований, проводимых российскими учеными (инженерами, исследователями), в том числе в кооперации с международным научным сообществом. </a:t>
            </a:r>
            <a:endParaRPr lang="ru-RU" dirty="0" smtClean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dirty="0"/>
              <a:t>В качестве индикатора эффективности научных исследований предлагается использовать количество публикаций российских исследователей в международных научных журналах и конференциях, а также суммарный индекс цитируемости участников предлагаемой научной </a:t>
            </a:r>
            <a:r>
              <a:rPr lang="ru-RU" dirty="0" smtClean="0"/>
              <a:t>кооперации</a:t>
            </a:r>
            <a:endParaRPr lang="ru-RU" dirty="0"/>
          </a:p>
        </p:txBody>
      </p:sp>
      <p:sp>
        <p:nvSpPr>
          <p:cNvPr id="56322" name="Заголовок 1"/>
          <p:cNvSpPr txBox="1">
            <a:spLocks/>
          </p:cNvSpPr>
          <p:nvPr/>
        </p:nvSpPr>
        <p:spPr bwMode="auto">
          <a:xfrm>
            <a:off x="1120775" y="0"/>
            <a:ext cx="69024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Сервис </a:t>
            </a:r>
            <a:r>
              <a:rPr lang="en-US" sz="2000">
                <a:latin typeface="Calibri" pitchFamily="34" charset="0"/>
              </a:rPr>
              <a:t>Research &amp; Publishing. </a:t>
            </a:r>
            <a:endParaRPr lang="ru-RU" sz="2000">
              <a:latin typeface="Calibri" pitchFamily="34" charset="0"/>
            </a:endParaRP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250825" y="4365625"/>
            <a:ext cx="8785225" cy="208756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ru-RU" sz="1800" dirty="0" smtClean="0"/>
              <a:t>Этап 1.  Создание функциональности </a:t>
            </a:r>
            <a:r>
              <a:rPr lang="ru-RU" sz="1800" smtClean="0"/>
              <a:t>цифрового </a:t>
            </a:r>
            <a:r>
              <a:rPr lang="ru-RU" sz="1800"/>
              <a:t>И</a:t>
            </a:r>
            <a:r>
              <a:rPr lang="ru-RU" sz="1800" smtClean="0"/>
              <a:t>нтернет </a:t>
            </a:r>
            <a:r>
              <a:rPr lang="ru-RU" sz="1800" dirty="0" smtClean="0"/>
              <a:t>издательства.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 smtClean="0"/>
          </a:p>
          <a:p>
            <a:pPr fontAlgn="auto">
              <a:spcAft>
                <a:spcPts val="0"/>
              </a:spcAft>
              <a:defRPr/>
            </a:pPr>
            <a:r>
              <a:rPr lang="ru-RU" sz="1800" dirty="0" smtClean="0"/>
              <a:t>Этап 2. Создание процедуры привлечения финансирования для выполнения тематических отраслевых исследовательских работ и написания статей.</a:t>
            </a:r>
          </a:p>
          <a:p>
            <a:pPr fontAlgn="auto">
              <a:spcAft>
                <a:spcPts val="0"/>
              </a:spcAft>
              <a:defRPr/>
            </a:pPr>
            <a:endParaRPr lang="ru-RU" sz="1800" dirty="0" smtClean="0"/>
          </a:p>
          <a:p>
            <a:pPr fontAlgn="auto">
              <a:spcAft>
                <a:spcPts val="0"/>
              </a:spcAft>
              <a:defRPr/>
            </a:pPr>
            <a:r>
              <a:rPr lang="ru-RU" sz="1800" dirty="0" smtClean="0"/>
              <a:t>Этап 3. Создание дополнительных коммерческих услуг по проведению исследовательских работ в распределенных, «бесконтактных» командах.</a:t>
            </a:r>
            <a:endParaRPr lang="ru-RU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b="1" dirty="0" smtClean="0">
                <a:solidFill>
                  <a:srgbClr val="7030A0"/>
                </a:solidFill>
              </a:rPr>
              <a:t>Задача: </a:t>
            </a:r>
          </a:p>
          <a:p>
            <a:pPr marL="0" indent="0">
              <a:buNone/>
            </a:pPr>
            <a:r>
              <a:rPr lang="ru-RU" sz="1600" b="1" dirty="0" smtClean="0"/>
              <a:t>Формирование инновационного сообщества экспертов/участников/партнеров Сколково и не только в формате </a:t>
            </a:r>
            <a:r>
              <a:rPr lang="en-US" sz="1600" b="1" dirty="0" smtClean="0"/>
              <a:t>crowdsourcing</a:t>
            </a:r>
            <a:endParaRPr lang="ru-RU" sz="1600" b="1" dirty="0" smtClean="0"/>
          </a:p>
          <a:p>
            <a:pPr marL="0" indent="0">
              <a:buNone/>
            </a:pPr>
            <a:r>
              <a:rPr lang="ru-RU" sz="2000" b="1" dirty="0" smtClean="0">
                <a:solidFill>
                  <a:srgbClr val="7030A0"/>
                </a:solidFill>
              </a:rPr>
              <a:t>Решение: </a:t>
            </a:r>
          </a:p>
          <a:p>
            <a:pPr marL="0" indent="0">
              <a:buNone/>
            </a:pPr>
            <a:r>
              <a:rPr lang="ru-RU" sz="1600" b="1" dirty="0" smtClean="0"/>
              <a:t>Открытый </a:t>
            </a:r>
            <a:r>
              <a:rPr lang="ru-RU" sz="1600" b="1" dirty="0"/>
              <a:t>он-</a:t>
            </a:r>
            <a:r>
              <a:rPr lang="ru-RU" sz="1600" b="1" dirty="0" err="1"/>
              <a:t>лайн</a:t>
            </a:r>
            <a:r>
              <a:rPr lang="ru-RU" sz="1600" b="1" dirty="0"/>
              <a:t> </a:t>
            </a:r>
            <a:r>
              <a:rPr lang="ru-RU" sz="1600" b="1" dirty="0" smtClean="0"/>
              <a:t>сервис, объединяющий на одной странице с возможностью редактирования </a:t>
            </a:r>
            <a:r>
              <a:rPr lang="ru-RU" sz="1600" b="1" dirty="0"/>
              <a:t>2.0 </a:t>
            </a:r>
            <a:endParaRPr lang="ru-RU" sz="1600" b="1" dirty="0" smtClean="0"/>
          </a:p>
          <a:p>
            <a:r>
              <a:rPr lang="ru-RU" sz="1600" b="1" dirty="0" smtClean="0"/>
              <a:t>Постановку актуальных задач, представляющих интерес для инновационной экономики </a:t>
            </a:r>
          </a:p>
          <a:p>
            <a:pPr lvl="2"/>
            <a:r>
              <a:rPr lang="ru-RU" sz="1600" dirty="0" smtClean="0"/>
              <a:t>Экспертное сообщество, ключевые партнеры, университеты</a:t>
            </a:r>
          </a:p>
          <a:p>
            <a:r>
              <a:rPr lang="ru-RU" sz="1600" b="1" dirty="0" smtClean="0"/>
              <a:t>Рубрики для основных участников инновационного процесса (с возможностью регистрации он-</a:t>
            </a:r>
            <a:r>
              <a:rPr lang="ru-RU" sz="1600" b="1" dirty="0" err="1" smtClean="0"/>
              <a:t>лайн</a:t>
            </a:r>
            <a:r>
              <a:rPr lang="ru-RU" sz="1600" b="1" dirty="0" smtClean="0"/>
              <a:t>)</a:t>
            </a:r>
          </a:p>
          <a:p>
            <a:pPr lvl="2"/>
            <a:r>
              <a:rPr lang="ru-RU" sz="1600" dirty="0" smtClean="0"/>
              <a:t>Инженерные и исследовательские решения (центры НИОКР, университеты, лаборатории…)</a:t>
            </a:r>
          </a:p>
          <a:p>
            <a:pPr lvl="2"/>
            <a:r>
              <a:rPr lang="ru-RU" sz="1600" dirty="0" smtClean="0"/>
              <a:t>Финансирование и инвестиции (</a:t>
            </a:r>
            <a:r>
              <a:rPr lang="en-US" sz="1600" dirty="0" smtClean="0"/>
              <a:t>VC</a:t>
            </a:r>
            <a:r>
              <a:rPr lang="ru-RU" sz="1600" dirty="0" smtClean="0"/>
              <a:t>, бизнес-ангелы, ключевые партнеры, банки….)</a:t>
            </a:r>
          </a:p>
          <a:p>
            <a:pPr lvl="2"/>
            <a:r>
              <a:rPr lang="ru-RU" sz="1600" dirty="0" smtClean="0"/>
              <a:t>Заинтересованные производители (опытное </a:t>
            </a:r>
            <a:r>
              <a:rPr lang="ru-RU" sz="1600" dirty="0"/>
              <a:t>и серийное </a:t>
            </a:r>
            <a:r>
              <a:rPr lang="ru-RU" sz="1600" dirty="0" smtClean="0"/>
              <a:t>производство)</a:t>
            </a:r>
          </a:p>
          <a:p>
            <a:pPr lvl="2"/>
            <a:r>
              <a:rPr lang="ru-RU" sz="1600" dirty="0" smtClean="0"/>
              <a:t>Коммерциализация (участники Сколково, компании, ключевые партнеры…)</a:t>
            </a:r>
          </a:p>
          <a:p>
            <a:r>
              <a:rPr lang="ru-RU" sz="1600" b="1" dirty="0" smtClean="0"/>
              <a:t>Возможность перекрестной рубрикации</a:t>
            </a:r>
          </a:p>
          <a:p>
            <a:pPr lvl="2"/>
            <a:r>
              <a:rPr lang="ru-RU" sz="1600" dirty="0"/>
              <a:t>По сфере деятельности </a:t>
            </a:r>
            <a:endParaRPr lang="ru-RU" sz="1600" dirty="0" smtClean="0"/>
          </a:p>
          <a:p>
            <a:pPr lvl="2"/>
            <a:r>
              <a:rPr lang="ru-RU" sz="1600" dirty="0" smtClean="0"/>
              <a:t>По инновационной задаче</a:t>
            </a:r>
            <a:r>
              <a:rPr lang="en-US" sz="1600" dirty="0" smtClean="0"/>
              <a:t>/</a:t>
            </a:r>
            <a:r>
              <a:rPr lang="ru-RU" sz="1600" dirty="0" smtClean="0"/>
              <a:t>проекту</a:t>
            </a:r>
          </a:p>
          <a:p>
            <a:pPr lvl="2"/>
            <a:r>
              <a:rPr lang="ru-RU" sz="1600" dirty="0" smtClean="0"/>
              <a:t>По названию компании </a:t>
            </a:r>
          </a:p>
          <a:p>
            <a:pPr lvl="2"/>
            <a:r>
              <a:rPr lang="ru-RU" sz="1600" dirty="0" smtClean="0"/>
              <a:t>По фамилиям участников и т.д.</a:t>
            </a:r>
          </a:p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683568" y="0"/>
            <a:ext cx="7799710" cy="648816"/>
          </a:xfr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dirty="0" err="1" smtClean="0">
                <a:latin typeface="Calibri" pitchFamily="34" charset="0"/>
                <a:ea typeface="+mn-ea"/>
                <a:cs typeface="+mn-cs"/>
              </a:rPr>
              <a:t>Сколковопедия</a:t>
            </a:r>
            <a:r>
              <a:rPr lang="ru-RU" sz="2000" dirty="0" smtClean="0">
                <a:latin typeface="Calibri" pitchFamily="34" charset="0"/>
                <a:ea typeface="+mn-ea"/>
                <a:cs typeface="+mn-cs"/>
              </a:rPr>
              <a:t> – </a:t>
            </a:r>
            <a:r>
              <a:rPr lang="en-US" sz="2000" dirty="0" smtClean="0">
                <a:latin typeface="Calibri" pitchFamily="34" charset="0"/>
                <a:ea typeface="+mn-ea"/>
                <a:cs typeface="+mn-cs"/>
              </a:rPr>
              <a:t>online </a:t>
            </a:r>
            <a:r>
              <a:rPr lang="ru-RU" sz="2000" dirty="0" smtClean="0">
                <a:latin typeface="Calibri" pitchFamily="34" charset="0"/>
                <a:ea typeface="+mn-ea"/>
                <a:cs typeface="+mn-cs"/>
              </a:rPr>
              <a:t>сервис </a:t>
            </a:r>
            <a:endParaRPr lang="ru-RU" sz="2000" dirty="0"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39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b="1" dirty="0" smtClean="0">
                <a:solidFill>
                  <a:srgbClr val="7030A0"/>
                </a:solidFill>
              </a:rPr>
              <a:t>Ожидаемый результат:</a:t>
            </a:r>
          </a:p>
          <a:p>
            <a:endParaRPr lang="ru-RU" sz="1800" b="1" dirty="0">
              <a:solidFill>
                <a:srgbClr val="7030A0"/>
              </a:solidFill>
            </a:endParaRPr>
          </a:p>
          <a:p>
            <a:r>
              <a:rPr lang="ru-RU" sz="1800" dirty="0" smtClean="0"/>
              <a:t>Актуализация перспективных </a:t>
            </a:r>
            <a:r>
              <a:rPr lang="ru-RU" sz="1800" dirty="0"/>
              <a:t>направлений инновационного развития </a:t>
            </a:r>
          </a:p>
          <a:p>
            <a:pPr>
              <a:lnSpc>
                <a:spcPct val="200000"/>
              </a:lnSpc>
            </a:pPr>
            <a:r>
              <a:rPr lang="ru-RU" sz="1800" dirty="0"/>
              <a:t>Создание национального инновационного сообщества он-</a:t>
            </a:r>
            <a:r>
              <a:rPr lang="ru-RU" sz="1800" dirty="0" err="1"/>
              <a:t>лайн</a:t>
            </a:r>
            <a:endParaRPr lang="ru-RU" sz="1800" dirty="0"/>
          </a:p>
          <a:p>
            <a:pPr>
              <a:lnSpc>
                <a:spcPct val="200000"/>
              </a:lnSpc>
            </a:pPr>
            <a:r>
              <a:rPr lang="ru-RU" sz="1800" dirty="0"/>
              <a:t>Продвижение пользователями сервиса своих компаний и разработок</a:t>
            </a:r>
          </a:p>
          <a:p>
            <a:pPr>
              <a:lnSpc>
                <a:spcPct val="200000"/>
              </a:lnSpc>
            </a:pPr>
            <a:r>
              <a:rPr lang="ru-RU" sz="1800" dirty="0"/>
              <a:t>Налаживание связей между участниками инновационных процессов </a:t>
            </a:r>
          </a:p>
          <a:p>
            <a:pPr>
              <a:lnSpc>
                <a:spcPct val="200000"/>
              </a:lnSpc>
            </a:pPr>
            <a:r>
              <a:rPr lang="ru-RU" sz="1800" dirty="0"/>
              <a:t>Повышение международной известности российских проектов </a:t>
            </a:r>
            <a:r>
              <a:rPr lang="ru-RU" sz="1800" dirty="0" smtClean="0"/>
              <a:t>и</a:t>
            </a:r>
            <a:r>
              <a:rPr lang="ru-RU" sz="1800" dirty="0"/>
              <a:t> </a:t>
            </a:r>
            <a:r>
              <a:rPr lang="ru-RU" sz="1800" dirty="0" smtClean="0"/>
              <a:t>их </a:t>
            </a:r>
            <a:r>
              <a:rPr lang="ru-RU" sz="1800" dirty="0"/>
              <a:t>участие в международном </a:t>
            </a:r>
            <a:r>
              <a:rPr lang="ru-RU" sz="1800" dirty="0" err="1" smtClean="0"/>
              <a:t>нетворкинге</a:t>
            </a:r>
            <a:endParaRPr lang="ru-RU" sz="1800" dirty="0" smtClean="0"/>
          </a:p>
          <a:p>
            <a:pPr>
              <a:lnSpc>
                <a:spcPct val="200000"/>
              </a:lnSpc>
            </a:pPr>
            <a:r>
              <a:rPr lang="ru-RU" sz="1800" smtClean="0"/>
              <a:t>Создание базы </a:t>
            </a:r>
            <a:r>
              <a:rPr lang="ru-RU" sz="1800" dirty="0" smtClean="0"/>
              <a:t>для будущего профессионального сообщества ИЦ «Сколково» </a:t>
            </a:r>
            <a:endParaRPr lang="ru-RU" sz="1800" dirty="0"/>
          </a:p>
          <a:p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683568" y="0"/>
            <a:ext cx="7799710" cy="648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2000" smtClean="0">
                <a:latin typeface="Calibri" pitchFamily="34" charset="0"/>
                <a:ea typeface="+mn-ea"/>
                <a:cs typeface="+mn-cs"/>
              </a:rPr>
              <a:t>Сколковопедия – </a:t>
            </a:r>
            <a:r>
              <a:rPr lang="en-US" sz="2000" smtClean="0">
                <a:latin typeface="Calibri" pitchFamily="34" charset="0"/>
                <a:ea typeface="+mn-ea"/>
                <a:cs typeface="+mn-cs"/>
              </a:rPr>
              <a:t>online </a:t>
            </a:r>
            <a:r>
              <a:rPr lang="ru-RU" sz="2000" smtClean="0">
                <a:latin typeface="Calibri" pitchFamily="34" charset="0"/>
                <a:ea typeface="+mn-ea"/>
                <a:cs typeface="+mn-cs"/>
              </a:rPr>
              <a:t>сервис </a:t>
            </a:r>
            <a:endParaRPr lang="ru-RU" sz="2000" dirty="0"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617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Объект 1"/>
          <p:cNvSpPr>
            <a:spLocks noGrp="1"/>
          </p:cNvSpPr>
          <p:nvPr>
            <p:ph idx="1"/>
          </p:nvPr>
        </p:nvSpPr>
        <p:spPr>
          <a:xfrm>
            <a:off x="250825" y="692150"/>
            <a:ext cx="8785225" cy="6049963"/>
          </a:xfrm>
        </p:spPr>
        <p:txBody>
          <a:bodyPr anchor="ctr"/>
          <a:lstStyle/>
          <a:p>
            <a:pPr marL="0" indent="0" algn="ctr">
              <a:buFont typeface="Arial" charset="0"/>
              <a:buNone/>
            </a:pPr>
            <a:r>
              <a:rPr lang="ru-RU" smtClean="0"/>
              <a:t>Спасибо за внимание.</a:t>
            </a:r>
          </a:p>
          <a:p>
            <a:pPr marL="0" indent="0" algn="ctr">
              <a:buFont typeface="Arial" charset="0"/>
              <a:buNone/>
            </a:pPr>
            <a:endParaRPr lang="ru-RU" smtClean="0"/>
          </a:p>
          <a:p>
            <a:pPr marL="0" indent="0" algn="ctr">
              <a:buFont typeface="Arial" charset="0"/>
              <a:buNone/>
            </a:pPr>
            <a:r>
              <a:rPr lang="ru-RU" smtClean="0"/>
              <a:t>Федор Краснов </a:t>
            </a:r>
          </a:p>
          <a:p>
            <a:pPr marL="0" indent="0" algn="ctr">
              <a:buFont typeface="Arial" charset="0"/>
              <a:buNone/>
            </a:pPr>
            <a:r>
              <a:rPr lang="en-US" smtClean="0"/>
              <a:t>fk@sk.ru</a:t>
            </a:r>
            <a:endParaRPr lang="ru-RU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23850" y="692150"/>
            <a:ext cx="8496300" cy="1584325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ct val="0"/>
              </a:spcBef>
              <a:buFont typeface="Arial" charset="0"/>
              <a:buNone/>
            </a:pPr>
            <a:r>
              <a:rPr lang="ru-RU" sz="1800" dirty="0" smtClean="0"/>
              <a:t>IT-технологии обслуживают Виртуальное Сколково. </a:t>
            </a:r>
          </a:p>
          <a:p>
            <a:pPr marL="0" indent="0">
              <a:spcBef>
                <a:spcPct val="0"/>
              </a:spcBef>
              <a:buFont typeface="Arial" charset="0"/>
              <a:buNone/>
            </a:pPr>
            <a:r>
              <a:rPr lang="ru-RU" sz="1800" dirty="0" smtClean="0"/>
              <a:t>Первично - Сообщество. Вторично - новшества ИКТ.</a:t>
            </a:r>
          </a:p>
          <a:p>
            <a:pPr marL="0" indent="0">
              <a:spcBef>
                <a:spcPct val="0"/>
              </a:spcBef>
              <a:buFont typeface="Arial" charset="0"/>
              <a:buNone/>
            </a:pPr>
            <a:r>
              <a:rPr lang="ru-RU" sz="1800" b="1" dirty="0" smtClean="0"/>
              <a:t>Приоритет при создании "Виртуальное Сколково" отдается построению </a:t>
            </a:r>
            <a:r>
              <a:rPr lang="ru-RU" sz="1800" b="1" u="sng" dirty="0" smtClean="0"/>
              <a:t>удобной среды  профессиональных, социальных отношений и коллективных взаимодействий</a:t>
            </a:r>
            <a:r>
              <a:rPr lang="ru-RU" sz="1800" b="1" dirty="0" smtClean="0"/>
              <a:t>, потребной для пользователей, как агентов инновационных процессов.</a:t>
            </a:r>
            <a:endParaRPr lang="ru-RU" sz="2200" b="1" dirty="0" smtClean="0">
              <a:latin typeface="Arial" charset="0"/>
            </a:endParaRPr>
          </a:p>
        </p:txBody>
      </p:sp>
      <p:sp>
        <p:nvSpPr>
          <p:cNvPr id="44034" name="Заголовок 1"/>
          <p:cNvSpPr txBox="1">
            <a:spLocks/>
          </p:cNvSpPr>
          <p:nvPr/>
        </p:nvSpPr>
        <p:spPr bwMode="auto">
          <a:xfrm>
            <a:off x="1055688" y="44450"/>
            <a:ext cx="682942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Создание «Виртуального Сколково» - </a:t>
            </a:r>
          </a:p>
          <a:p>
            <a:pPr algn="ctr"/>
            <a:r>
              <a:rPr lang="ru-RU" sz="2000">
                <a:latin typeface="Calibri" pitchFamily="34" charset="0"/>
              </a:rPr>
              <a:t>социально-технологическая задача</a:t>
            </a:r>
          </a:p>
        </p:txBody>
      </p:sp>
      <p:sp>
        <p:nvSpPr>
          <p:cNvPr id="3" name="Объект 1"/>
          <p:cNvSpPr>
            <a:spLocks/>
          </p:cNvSpPr>
          <p:nvPr/>
        </p:nvSpPr>
        <p:spPr bwMode="auto">
          <a:xfrm>
            <a:off x="250825" y="2205038"/>
            <a:ext cx="8713788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09600" indent="-609600">
              <a:spcBef>
                <a:spcPct val="20000"/>
              </a:spcBef>
              <a:buFont typeface="Arial" charset="0"/>
              <a:buNone/>
            </a:pPr>
            <a:r>
              <a:rPr lang="ru-RU" sz="1400" dirty="0">
                <a:latin typeface="Calibri" pitchFamily="34" charset="0"/>
              </a:rPr>
              <a:t>Понятие </a:t>
            </a:r>
            <a:r>
              <a:rPr lang="ru-RU" sz="1400" b="1" dirty="0">
                <a:latin typeface="Calibri" pitchFamily="34" charset="0"/>
              </a:rPr>
              <a:t>виртуальное</a:t>
            </a:r>
            <a:r>
              <a:rPr lang="ru-RU" sz="1400" dirty="0">
                <a:latin typeface="Calibri" pitchFamily="34" charset="0"/>
              </a:rPr>
              <a:t> (в смысле представленное в интернет):</a:t>
            </a:r>
          </a:p>
          <a:p>
            <a:pPr marL="609600" indent="-609600">
              <a:spcBef>
                <a:spcPct val="20000"/>
              </a:spcBef>
              <a:buFont typeface="Arial" charset="0"/>
              <a:buAutoNum type="arabicPeriod"/>
            </a:pPr>
            <a:r>
              <a:rPr lang="ru-RU" sz="1400" dirty="0">
                <a:latin typeface="Calibri" pitchFamily="34" charset="0"/>
              </a:rPr>
              <a:t>Анализ практики реальных взаимодействий субъектов инновационной сферы (персон, групп, организаций). Идентификация процессов, которые могут быть перенесены в виртуальное пространство. (Эти процессы поддерживают, сопровождают, обслуживают актуальные задачи и насущные потребности участников инновационного сообщества в их </a:t>
            </a:r>
            <a:r>
              <a:rPr lang="ru-RU" sz="1400" dirty="0" err="1">
                <a:latin typeface="Calibri" pitchFamily="34" charset="0"/>
              </a:rPr>
              <a:t>оффлайновых</a:t>
            </a:r>
            <a:r>
              <a:rPr lang="ru-RU" sz="1400" dirty="0">
                <a:latin typeface="Calibri" pitchFamily="34" charset="0"/>
              </a:rPr>
              <a:t> коллективных взаимодействиях).</a:t>
            </a:r>
          </a:p>
          <a:p>
            <a:pPr marL="609600" indent="-609600">
              <a:spcBef>
                <a:spcPct val="20000"/>
              </a:spcBef>
              <a:buFont typeface="Arial" charset="0"/>
              <a:buAutoNum type="arabicPeriod"/>
            </a:pPr>
            <a:r>
              <a:rPr lang="ru-RU" sz="1400" dirty="0">
                <a:latin typeface="Calibri" pitchFamily="34" charset="0"/>
              </a:rPr>
              <a:t>Планирование и организация конкретных мероприятий, событий, активностей, форматов </a:t>
            </a:r>
            <a:r>
              <a:rPr lang="ru-RU" sz="1400" dirty="0" smtClean="0">
                <a:latin typeface="Calibri" pitchFamily="34" charset="0"/>
              </a:rPr>
              <a:t>взаимодействий, </a:t>
            </a:r>
            <a:r>
              <a:rPr lang="ru-RU" sz="1400" dirty="0">
                <a:latin typeface="Calibri" pitchFamily="34" charset="0"/>
              </a:rPr>
              <a:t>конкурсных процедур, экспертно-оценочных процедур и проч. из расчета, что часть их процессов происходит в </a:t>
            </a:r>
            <a:r>
              <a:rPr lang="ru-RU" sz="1400" dirty="0" err="1">
                <a:latin typeface="Calibri" pitchFamily="34" charset="0"/>
              </a:rPr>
              <a:t>оффлайн</a:t>
            </a:r>
            <a:r>
              <a:rPr lang="ru-RU" sz="1400" dirty="0">
                <a:latin typeface="Calibri" pitchFamily="34" charset="0"/>
              </a:rPr>
              <a:t>, а часть реализуется в онлайн - в виртуальном пространстве. При этом они органично </a:t>
            </a:r>
            <a:r>
              <a:rPr lang="ru-RU" sz="1400" dirty="0" smtClean="0">
                <a:latin typeface="Calibri" pitchFamily="34" charset="0"/>
              </a:rPr>
              <a:t>связаны. Активность </a:t>
            </a:r>
            <a:r>
              <a:rPr lang="ru-RU" sz="1400" dirty="0">
                <a:latin typeface="Calibri" pitchFamily="34" charset="0"/>
              </a:rPr>
              <a:t>в виртуальном пространстве должна по структуре и по назначению соответствовать характеру </a:t>
            </a:r>
            <a:r>
              <a:rPr lang="ru-RU" sz="1400" dirty="0" err="1">
                <a:latin typeface="Calibri" pitchFamily="34" charset="0"/>
              </a:rPr>
              <a:t>оффлайновых</a:t>
            </a:r>
            <a:r>
              <a:rPr lang="ru-RU" sz="1400" dirty="0">
                <a:latin typeface="Calibri" pitchFamily="34" charset="0"/>
              </a:rPr>
              <a:t> коллективных взаимодействий участников инновационного </a:t>
            </a:r>
            <a:r>
              <a:rPr lang="ru-RU" sz="1400" dirty="0" smtClean="0">
                <a:latin typeface="Calibri" pitchFamily="34" charset="0"/>
              </a:rPr>
              <a:t>сообщества.</a:t>
            </a:r>
            <a:endParaRPr lang="ru-RU" sz="1400" dirty="0">
              <a:latin typeface="Calibri" pitchFamily="34" charset="0"/>
            </a:endParaRPr>
          </a:p>
          <a:p>
            <a:pPr marL="609600" indent="-609600">
              <a:spcBef>
                <a:spcPct val="20000"/>
              </a:spcBef>
              <a:buFont typeface="Arial" charset="0"/>
              <a:buAutoNum type="arabicPeriod"/>
            </a:pPr>
            <a:r>
              <a:rPr lang="ru-RU" sz="1400" dirty="0">
                <a:latin typeface="Calibri" pitchFamily="34" charset="0"/>
              </a:rPr>
              <a:t>Под </a:t>
            </a:r>
            <a:r>
              <a:rPr lang="ru-RU" sz="1400" dirty="0" err="1">
                <a:latin typeface="Calibri" pitchFamily="34" charset="0"/>
              </a:rPr>
              <a:t>виртуализируемые</a:t>
            </a:r>
            <a:r>
              <a:rPr lang="ru-RU" sz="1400" dirty="0">
                <a:latin typeface="Calibri" pitchFamily="34" charset="0"/>
              </a:rPr>
              <a:t> онлайн-процессы разрабатывается функционал и соответствующее программно-техническое обеспечение.</a:t>
            </a:r>
          </a:p>
          <a:p>
            <a:pPr marL="609600" indent="-609600">
              <a:spcBef>
                <a:spcPct val="20000"/>
              </a:spcBef>
              <a:buFont typeface="Arial" charset="0"/>
              <a:buAutoNum type="arabicPeriod"/>
            </a:pPr>
            <a:r>
              <a:rPr lang="ru-RU" sz="1400" dirty="0">
                <a:latin typeface="Calibri" pitchFamily="34" charset="0"/>
              </a:rPr>
              <a:t>Персонал проекта обеспечивает работу мероприятий, событий, активностей целостно - поддерживая не только </a:t>
            </a:r>
            <a:r>
              <a:rPr lang="ru-RU" sz="1400" dirty="0" err="1">
                <a:latin typeface="Calibri" pitchFamily="34" charset="0"/>
              </a:rPr>
              <a:t>виртуализованные</a:t>
            </a:r>
            <a:r>
              <a:rPr lang="ru-RU" sz="1400" dirty="0">
                <a:latin typeface="Calibri" pitchFamily="34" charset="0"/>
              </a:rPr>
              <a:t> процессы в интернет, но и </a:t>
            </a:r>
            <a:r>
              <a:rPr lang="ru-RU" sz="1400" dirty="0" err="1">
                <a:latin typeface="Calibri" pitchFamily="34" charset="0"/>
              </a:rPr>
              <a:t>оффлайн</a:t>
            </a:r>
            <a:r>
              <a:rPr lang="ru-RU" sz="1400" dirty="0">
                <a:latin typeface="Calibri" pitchFamily="34" charset="0"/>
              </a:rPr>
              <a:t> деятельность сообщества.</a:t>
            </a:r>
          </a:p>
          <a:p>
            <a:pPr marL="609600" indent="-609600">
              <a:spcBef>
                <a:spcPct val="20000"/>
              </a:spcBef>
              <a:buFont typeface="Arial" charset="0"/>
              <a:buNone/>
            </a:pPr>
            <a:r>
              <a:rPr lang="ru-RU" sz="1600" b="1" dirty="0">
                <a:solidFill>
                  <a:schemeClr val="hlink"/>
                </a:solidFill>
                <a:latin typeface="Calibri" pitchFamily="34" charset="0"/>
              </a:rPr>
              <a:t>	</a:t>
            </a:r>
            <a:r>
              <a:rPr lang="ru-RU" sz="1600" b="1" dirty="0" err="1">
                <a:solidFill>
                  <a:schemeClr val="hlink"/>
                </a:solidFill>
                <a:latin typeface="Calibri" pitchFamily="34" charset="0"/>
              </a:rPr>
              <a:t>Community</a:t>
            </a:r>
            <a:r>
              <a:rPr lang="ru-RU" sz="1600" b="1" dirty="0">
                <a:solidFill>
                  <a:schemeClr val="hlink"/>
                </a:solidFill>
                <a:latin typeface="Calibri" pitchFamily="34" charset="0"/>
              </a:rPr>
              <a:t> </a:t>
            </a:r>
            <a:r>
              <a:rPr lang="ru-RU" sz="1600" b="1" dirty="0" err="1">
                <a:solidFill>
                  <a:schemeClr val="hlink"/>
                </a:solidFill>
                <a:latin typeface="Calibri" pitchFamily="34" charset="0"/>
              </a:rPr>
              <a:t>building</a:t>
            </a:r>
            <a:r>
              <a:rPr lang="ru-RU" sz="1600" b="1" dirty="0">
                <a:solidFill>
                  <a:schemeClr val="hlink"/>
                </a:solidFill>
                <a:latin typeface="Calibri" pitchFamily="34" charset="0"/>
              </a:rPr>
              <a:t> в проекте "Виртуальное Сколково" есть в первую очередь социально-технологическая задача.</a:t>
            </a:r>
            <a:r>
              <a:rPr lang="ru-RU" sz="1400" dirty="0">
                <a:latin typeface="Calibri" pitchFamily="34" charset="0"/>
              </a:rPr>
              <a:t> </a:t>
            </a:r>
            <a:endParaRPr lang="ru-RU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Объект 1"/>
          <p:cNvSpPr>
            <a:spLocks noGrp="1"/>
          </p:cNvSpPr>
          <p:nvPr>
            <p:ph idx="1"/>
          </p:nvPr>
        </p:nvSpPr>
        <p:spPr>
          <a:xfrm>
            <a:off x="2771775" y="620713"/>
            <a:ext cx="3529013" cy="720725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lang="ru-RU" sz="2000" b="1" smtClean="0">
                <a:solidFill>
                  <a:schemeClr val="accent2"/>
                </a:solidFill>
              </a:rPr>
              <a:t>Выбор приоритета</a:t>
            </a:r>
          </a:p>
          <a:p>
            <a:pPr marL="0" indent="0" algn="ctr">
              <a:buFont typeface="Arial" charset="0"/>
              <a:buNone/>
            </a:pPr>
            <a:r>
              <a:rPr lang="ru-RU" sz="2000" b="1" smtClean="0">
                <a:solidFill>
                  <a:schemeClr val="accent2"/>
                </a:solidFill>
              </a:rPr>
              <a:t>???</a:t>
            </a:r>
            <a:r>
              <a:rPr lang="ru-RU" sz="1800" b="1" smtClean="0"/>
              <a:t> </a:t>
            </a:r>
          </a:p>
        </p:txBody>
      </p:sp>
      <p:sp>
        <p:nvSpPr>
          <p:cNvPr id="45058" name="Заголовок 1"/>
          <p:cNvSpPr txBox="1">
            <a:spLocks/>
          </p:cNvSpPr>
          <p:nvPr/>
        </p:nvSpPr>
        <p:spPr bwMode="auto">
          <a:xfrm>
            <a:off x="1055688" y="44450"/>
            <a:ext cx="6972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Как работаем с Сообществом</a:t>
            </a:r>
          </a:p>
        </p:txBody>
      </p:sp>
      <p:sp>
        <p:nvSpPr>
          <p:cNvPr id="45059" name="TextBox 3"/>
          <p:cNvSpPr txBox="1">
            <a:spLocks noChangeArrowheads="1"/>
          </p:cNvSpPr>
          <p:nvPr/>
        </p:nvSpPr>
        <p:spPr bwMode="auto">
          <a:xfrm>
            <a:off x="179388" y="1052513"/>
            <a:ext cx="3960812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000" b="1">
                <a:solidFill>
                  <a:schemeClr val="hlink"/>
                </a:solidFill>
                <a:latin typeface="Calibri" pitchFamily="34" charset="0"/>
              </a:rPr>
              <a:t>работаем над качеством инновационной культуры и формируем сообщество с инновационной культурой мирового уровня.</a:t>
            </a:r>
          </a:p>
        </p:txBody>
      </p:sp>
      <p:sp>
        <p:nvSpPr>
          <p:cNvPr id="45060" name="TextBox 4"/>
          <p:cNvSpPr txBox="1">
            <a:spLocks noChangeArrowheads="1"/>
          </p:cNvSpPr>
          <p:nvPr/>
        </p:nvSpPr>
        <p:spPr bwMode="auto">
          <a:xfrm>
            <a:off x="5076825" y="1052513"/>
            <a:ext cx="3887788" cy="1616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just"/>
            <a:r>
              <a:rPr lang="ru-RU" sz="2000" b="1">
                <a:solidFill>
                  <a:schemeClr val="hlink"/>
                </a:solidFill>
                <a:latin typeface="Calibri" pitchFamily="34" charset="0"/>
              </a:rPr>
              <a:t>формируем специальные механизмы конкурсов и отбора лучших из участников для приобщения к ресурсам Сколково. </a:t>
            </a:r>
          </a:p>
        </p:txBody>
      </p:sp>
      <p:sp>
        <p:nvSpPr>
          <p:cNvPr id="45063" name="TextBox 3"/>
          <p:cNvSpPr txBox="1">
            <a:spLocks noChangeArrowheads="1"/>
          </p:cNvSpPr>
          <p:nvPr/>
        </p:nvSpPr>
        <p:spPr bwMode="auto">
          <a:xfrm>
            <a:off x="179388" y="2781300"/>
            <a:ext cx="4362450" cy="393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b="1" u="sng" dirty="0">
                <a:latin typeface="Calibri" pitchFamily="34" charset="0"/>
              </a:rPr>
              <a:t>Последствия: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Первоначальный объем сообщества в </a:t>
            </a:r>
            <a:r>
              <a:rPr lang="ru-RU" dirty="0" smtClean="0">
                <a:latin typeface="Calibri" pitchFamily="34" charset="0"/>
              </a:rPr>
              <a:t>участниках </a:t>
            </a:r>
            <a:r>
              <a:rPr lang="ru-RU" dirty="0">
                <a:latin typeface="Calibri" pitchFamily="34" charset="0"/>
              </a:rPr>
              <a:t>не очень большой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Процесс формирования будет довольно продолжительным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Особые усилия по созданию ядра сообщества – генератора инновационной культуры (около 100 субъектов)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Особые усилия по формированию механизмов «размножения» культуры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Проект «Виртуальное Сколково» работает с любым желающим, механизмы отбора лучших делегирует иным партнерам.</a:t>
            </a:r>
          </a:p>
        </p:txBody>
      </p:sp>
      <p:sp>
        <p:nvSpPr>
          <p:cNvPr id="45065" name="TextBox 3"/>
          <p:cNvSpPr txBox="1">
            <a:spLocks noChangeArrowheads="1"/>
          </p:cNvSpPr>
          <p:nvPr/>
        </p:nvSpPr>
        <p:spPr bwMode="auto">
          <a:xfrm>
            <a:off x="4643438" y="2708275"/>
            <a:ext cx="4362450" cy="393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b="1" u="sng" dirty="0">
                <a:latin typeface="Calibri" pitchFamily="34" charset="0"/>
              </a:rPr>
              <a:t>Последствия: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Первоначальный объем сообщества широкий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Особые усилия по выработке критериев и процедур отбора (в основу ляжет оценка контента инноваций)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Проект «Виртуальное Сколково» непосредственно реализует механизмы </a:t>
            </a:r>
            <a:r>
              <a:rPr lang="ru-RU" dirty="0" smtClean="0">
                <a:latin typeface="Calibri" pitchFamily="34" charset="0"/>
              </a:rPr>
              <a:t>для </a:t>
            </a:r>
            <a:r>
              <a:rPr lang="ru-RU" dirty="0" err="1" smtClean="0">
                <a:latin typeface="Calibri" pitchFamily="34" charset="0"/>
              </a:rPr>
              <a:t>самоотбора</a:t>
            </a:r>
            <a:r>
              <a:rPr lang="ru-RU" dirty="0" smtClean="0">
                <a:latin typeface="Calibri" pitchFamily="34" charset="0"/>
              </a:rPr>
              <a:t> лучших</a:t>
            </a:r>
            <a:r>
              <a:rPr lang="ru-RU" dirty="0">
                <a:latin typeface="Calibri" pitchFamily="34" charset="0"/>
              </a:rPr>
              <a:t>;</a:t>
            </a:r>
          </a:p>
          <a:p>
            <a:pPr algn="just">
              <a:buFontTx/>
              <a:buChar char="•"/>
            </a:pPr>
            <a:r>
              <a:rPr lang="ru-RU" dirty="0">
                <a:latin typeface="Calibri" pitchFamily="34" charset="0"/>
              </a:rPr>
              <a:t>Отбор даст лучших из имеющихся. Трансляция успешного опыта будет затруднена из-за конкуренции за распределение ресурсов (за членство в «клубе Сколково»)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9" name="Заголовок 1"/>
          <p:cNvSpPr txBox="1">
            <a:spLocks/>
          </p:cNvSpPr>
          <p:nvPr/>
        </p:nvSpPr>
        <p:spPr bwMode="auto">
          <a:xfrm>
            <a:off x="1055688" y="44450"/>
            <a:ext cx="6972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Инновационное сообщество – особый социальный субъект</a:t>
            </a:r>
          </a:p>
        </p:txBody>
      </p:sp>
      <p:pic>
        <p:nvPicPr>
          <p:cNvPr id="75782" name="Picture 6" descr="120618 - Community-subjec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92150"/>
            <a:ext cx="6264275" cy="1922463"/>
          </a:xfrm>
          <a:prstGeom prst="rect">
            <a:avLst/>
          </a:prstGeom>
          <a:noFill/>
        </p:spPr>
      </p:pic>
      <p:pic>
        <p:nvPicPr>
          <p:cNvPr id="75783" name="Picture 7" descr="120618 - Net-Izomorfiz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43213" y="4076700"/>
            <a:ext cx="6173787" cy="2393950"/>
          </a:xfrm>
          <a:prstGeom prst="rect">
            <a:avLst/>
          </a:prstGeom>
          <a:noFill/>
        </p:spPr>
      </p:pic>
      <p:sp>
        <p:nvSpPr>
          <p:cNvPr id="75780" name="TextBox 3"/>
          <p:cNvSpPr txBox="1">
            <a:spLocks noChangeArrowheads="1"/>
          </p:cNvSpPr>
          <p:nvPr/>
        </p:nvSpPr>
        <p:spPr bwMode="auto">
          <a:xfrm>
            <a:off x="6300788" y="904875"/>
            <a:ext cx="2705100" cy="180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600"/>
              <a:t>Нормы, ценности и тезаурус сообществ не возникают, как результат кадрового подбора. Это не вопрос мобилизации ресурсов и фильтров. Они складываются в</a:t>
            </a:r>
          </a:p>
        </p:txBody>
      </p:sp>
      <p:sp>
        <p:nvSpPr>
          <p:cNvPr id="75784" name="TextBox 3"/>
          <p:cNvSpPr txBox="1">
            <a:spLocks noChangeArrowheads="1"/>
          </p:cNvSpPr>
          <p:nvPr/>
        </p:nvSpPr>
        <p:spPr bwMode="auto">
          <a:xfrm>
            <a:off x="179388" y="2636838"/>
            <a:ext cx="8785225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600"/>
              <a:t>практике многочисленных взаимодействий "агентов" сетевого сообщества друг с другом, которые имеют и успех, и неудачные исходы. Нормы, ценности и общий язык должны не просто отобраться, а сложиться, сформироваться. На это потребуется значительное время. Сообщество в несколько тысяч субъектов будет выстраиваться до 5-10 лет.</a:t>
            </a:r>
          </a:p>
        </p:txBody>
      </p:sp>
      <p:sp>
        <p:nvSpPr>
          <p:cNvPr id="75785" name="TextBox 3"/>
          <p:cNvSpPr txBox="1">
            <a:spLocks noChangeArrowheads="1"/>
          </p:cNvSpPr>
          <p:nvPr/>
        </p:nvSpPr>
        <p:spPr bwMode="auto">
          <a:xfrm>
            <a:off x="250825" y="4005263"/>
            <a:ext cx="2705100" cy="253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/>
              <a:t>Идеальное состояние:</a:t>
            </a:r>
          </a:p>
          <a:p>
            <a:r>
              <a:rPr lang="ru-RU" sz="1600"/>
              <a:t>Персональные отношения и институциональные отношения имеют похожую структуру.</a:t>
            </a:r>
          </a:p>
          <a:p>
            <a:endParaRPr lang="ru-RU" sz="1600"/>
          </a:p>
          <a:p>
            <a:r>
              <a:rPr lang="ru-RU" sz="1600"/>
              <a:t>Культура сообщества тогда начинает определять работу инновационной сферы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Заголовок 1"/>
          <p:cNvSpPr txBox="1">
            <a:spLocks/>
          </p:cNvSpPr>
          <p:nvPr/>
        </p:nvSpPr>
        <p:spPr bwMode="auto">
          <a:xfrm>
            <a:off x="684213" y="0"/>
            <a:ext cx="8208962" cy="5762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dirty="0">
                <a:latin typeface="Calibri" pitchFamily="34" charset="0"/>
              </a:rPr>
              <a:t>Сколково </a:t>
            </a:r>
            <a:r>
              <a:rPr lang="ru-RU" sz="2000" dirty="0" smtClean="0">
                <a:latin typeface="Calibri" pitchFamily="34" charset="0"/>
              </a:rPr>
              <a:t>= </a:t>
            </a:r>
            <a:r>
              <a:rPr lang="ru-RU" sz="2000" dirty="0">
                <a:latin typeface="Calibri" pitchFamily="34" charset="0"/>
              </a:rPr>
              <a:t>центр организации инновационной сферы </a:t>
            </a:r>
            <a:r>
              <a:rPr lang="ru-RU" sz="2000" dirty="0" smtClean="0">
                <a:latin typeface="Calibri" pitchFamily="34" charset="0"/>
              </a:rPr>
              <a:t>взаимодействий</a:t>
            </a:r>
            <a:endParaRPr lang="ru-RU" sz="2000" dirty="0">
              <a:latin typeface="Calibri" pitchFamily="34" charset="0"/>
            </a:endParaRPr>
          </a:p>
        </p:txBody>
      </p:sp>
      <p:graphicFrame>
        <p:nvGraphicFramePr>
          <p:cNvPr id="47190" name="Group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370859"/>
              </p:ext>
            </p:extLst>
          </p:nvPr>
        </p:nvGraphicFramePr>
        <p:xfrm>
          <a:off x="179388" y="765175"/>
          <a:ext cx="8785225" cy="5438776"/>
        </p:xfrm>
        <a:graphic>
          <a:graphicData uri="http://schemas.openxmlformats.org/drawingml/2006/table">
            <a:tbl>
              <a:tblPr/>
              <a:tblGrid>
                <a:gridCol w="4392612"/>
                <a:gridCol w="4392613"/>
              </a:tblGrid>
              <a:tr h="5365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Составные инфраструктур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Задачи, реализуемые через Виртуальное Сколково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8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1) бюджетирование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Привлечение инвесторов через промоушен, информационную политик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22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2) институциональное регулирование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Краудсорсинг правил, регуляционных решений, коллективное проектирование системы регуляторов, установление норм, требований, образцов (документов, мероприятий, событий); внедрение международно признанных норм и прави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033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3) наличные государственные, социальные и социально-экономические субъекты инновационной жизни страны; контрагенты международного сотрудничества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Отображение активности, характера деятельности, успехов субъектов, сохранение истории их взаимодействий, создание и поддержка системы "инвестиционной" идентификаци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017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4) складывающаяся система взаимодействия участников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Ее сопровождение: популяризация схем взаимодействия, организация праздников успехов, юридическая поддержка соглашений, аналитика и прогноз, реклама и промоушен в СМ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6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5) воспроизводство и развитие инфраструктуры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Batang"/>
                          <a:cs typeface="Times New Roman" pitchFamily="18" charset="0"/>
                        </a:rPr>
                        <a:t>Community building, дистанционное обучение, организация конференционной активно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Заголовок 1"/>
          <p:cNvSpPr txBox="1">
            <a:spLocks/>
          </p:cNvSpPr>
          <p:nvPr/>
        </p:nvSpPr>
        <p:spPr bwMode="auto">
          <a:xfrm>
            <a:off x="684213" y="0"/>
            <a:ext cx="82089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Состав и функциональная структура государственных, социальных и социально-экономических субъектов  Виртуального Сколково</a:t>
            </a:r>
          </a:p>
        </p:txBody>
      </p:sp>
      <p:pic>
        <p:nvPicPr>
          <p:cNvPr id="77827" name="Picture 35"/>
          <p:cNvPicPr>
            <a:picLocks noGrp="1" noChangeAspect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4787900" y="692150"/>
            <a:ext cx="4249738" cy="2846388"/>
          </a:xfrm>
        </p:spPr>
      </p:pic>
      <p:graphicFrame>
        <p:nvGraphicFramePr>
          <p:cNvPr id="5" name="Объект 2"/>
          <p:cNvGraphicFramePr>
            <a:graphicFrameLocks/>
          </p:cNvGraphicFramePr>
          <p:nvPr/>
        </p:nvGraphicFramePr>
        <p:xfrm>
          <a:off x="4427984" y="3573016"/>
          <a:ext cx="5040114" cy="3169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7829" name="TextBox 5"/>
          <p:cNvSpPr txBox="1">
            <a:spLocks noChangeArrowheads="1"/>
          </p:cNvSpPr>
          <p:nvPr/>
        </p:nvSpPr>
        <p:spPr bwMode="auto">
          <a:xfrm>
            <a:off x="4763" y="620713"/>
            <a:ext cx="4783137" cy="603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latin typeface="Calibri" pitchFamily="34" charset="0"/>
              </a:rPr>
              <a:t>Состав субъектов инновационной активности, согласно стратегии </a:t>
            </a:r>
            <a:r>
              <a:rPr lang="en-US" sz="1600">
                <a:latin typeface="Calibri" pitchFamily="34" charset="0"/>
              </a:rPr>
              <a:t>Cisco IBSG</a:t>
            </a:r>
            <a:r>
              <a:rPr lang="ru-RU" sz="1600">
                <a:latin typeface="Calibri" pitchFamily="34" charset="0"/>
              </a:rPr>
              <a:t> (см. рис. справа) . </a:t>
            </a:r>
          </a:p>
          <a:p>
            <a:endParaRPr lang="ru-RU" sz="1600">
              <a:latin typeface="Calibri" pitchFamily="34" charset="0"/>
            </a:endParaRPr>
          </a:p>
          <a:p>
            <a:r>
              <a:rPr lang="ru-RU" sz="1600" b="1">
                <a:solidFill>
                  <a:schemeClr val="hlink"/>
                </a:solidFill>
                <a:latin typeface="Calibri" pitchFamily="34" charset="0"/>
              </a:rPr>
              <a:t>Проблема:</a:t>
            </a:r>
            <a:r>
              <a:rPr lang="ru-RU" sz="1600">
                <a:solidFill>
                  <a:schemeClr val="hlink"/>
                </a:solidFill>
                <a:latin typeface="Calibri" pitchFamily="34" charset="0"/>
              </a:rPr>
              <a:t> На западе  функционал этих субъектов достаточно четко задан и ролевые задачи в инновационных процессах сформированы в течение десятилетий. В России – нет: иная история создания.</a:t>
            </a:r>
          </a:p>
          <a:p>
            <a:endParaRPr lang="ru-RU" sz="1600" b="1">
              <a:latin typeface="Calibri" pitchFamily="34" charset="0"/>
            </a:endParaRPr>
          </a:p>
          <a:p>
            <a:r>
              <a:rPr lang="ru-RU" sz="1600" b="1">
                <a:latin typeface="Calibri" pitchFamily="34" charset="0"/>
              </a:rPr>
              <a:t>Следствие:</a:t>
            </a:r>
            <a:r>
              <a:rPr lang="ru-RU" sz="1600">
                <a:latin typeface="Calibri" pitchFamily="34" charset="0"/>
              </a:rPr>
              <a:t>  Идентификация роли субъектов в инновационных процессах не кабинетный, а социальный акт и продолжительный. Потенциальным участникам Сколково потребуется идентифицировать не только свое место, но и роли партнеров - готовы ли они к тому, в чем себя заявили.</a:t>
            </a:r>
          </a:p>
          <a:p>
            <a:endParaRPr lang="ru-RU" sz="1600">
              <a:latin typeface="Calibri" pitchFamily="34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ru-RU" sz="1600" b="1">
                <a:latin typeface="Calibri" pitchFamily="34" charset="0"/>
              </a:rPr>
              <a:t>Этап разведки.</a:t>
            </a:r>
            <a:r>
              <a:rPr lang="ru-RU" sz="1600">
                <a:latin typeface="Calibri" pitchFamily="34" charset="0"/>
              </a:rPr>
              <a:t> Для этой задачи в проекте формирования виртуального сообщества Сколково необходим будет период генерации событий по столкновению участников в "пилотных" взаимодействиях, презентациях, малоресурсных совместных мероприятиях и проектах. Он должен, также включать интенсивное отображение участников друг другу с точки зрения их позиционирования и характера взятой на себя роли.</a:t>
            </a:r>
          </a:p>
        </p:txBody>
      </p:sp>
      <p:sp>
        <p:nvSpPr>
          <p:cNvPr id="77830" name="TextBox 1"/>
          <p:cNvSpPr txBox="1">
            <a:spLocks noChangeArrowheads="1"/>
          </p:cNvSpPr>
          <p:nvPr/>
        </p:nvSpPr>
        <p:spPr bwMode="auto">
          <a:xfrm>
            <a:off x="6156325" y="733425"/>
            <a:ext cx="12954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>
                <a:latin typeface="Calibri" pitchFamily="34" charset="0"/>
              </a:rPr>
              <a:t>Strategy  by Cisco IBSG</a:t>
            </a:r>
            <a:endParaRPr lang="ru-RU" sz="8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sz="2000" dirty="0"/>
              <a:t>Для этой задачи в проекте формирования виртуального сообщества Сколково весьма вероятно необходим будет период генерации событий по столкновению участников в "пилотных" взаимодействиях, презентациях, малоресурсных совместных мероприятиях и проектах. Он должен, также включать интенсивное отображение участников друг другу с точки зрения той позиции, которую они занимают по захватыванию взаимодействий на себя</a:t>
            </a:r>
            <a:r>
              <a:rPr lang="ru-RU" sz="2000" dirty="0" smtClean="0"/>
              <a:t>.</a:t>
            </a:r>
          </a:p>
          <a:p>
            <a:endParaRPr lang="ru-RU" sz="2000" dirty="0" smtClean="0"/>
          </a:p>
          <a:p>
            <a:r>
              <a:rPr lang="ru-RU" sz="2000" dirty="0" smtClean="0"/>
              <a:t>Целесообразно сознательно </a:t>
            </a:r>
            <a:r>
              <a:rPr lang="ru-RU" sz="2000" dirty="0"/>
              <a:t>строить виртуальное сообщество Сколково на основе специфической для России локализации, имеющей ценность для иных мировых инновационных сетей и сообществ</a:t>
            </a:r>
            <a:r>
              <a:rPr lang="ru-RU" sz="2000" dirty="0" smtClean="0"/>
              <a:t>.</a:t>
            </a:r>
          </a:p>
          <a:p>
            <a:endParaRPr lang="ru-RU" sz="2000" dirty="0"/>
          </a:p>
          <a:p>
            <a:r>
              <a:rPr lang="ru-RU" sz="2000" dirty="0"/>
              <a:t>Для примера (только для примера!) возможен акцент на российской очень насущной потребности в защите интеллектуальной собственности, если учесть повышенную изобретательность русского народа и дремучую неспособность реализовать свои идеи в виде устойчивых производственных процессов. Так, если для российского случая удобные формы защиты будут найдены, то вполне вероятно, что это сможет стать ориентиром для иных развивающихся регионов (Индия, Латинская Америка).</a:t>
            </a:r>
          </a:p>
          <a:p>
            <a:endParaRPr lang="ru-RU" sz="2000" dirty="0" smtClean="0"/>
          </a:p>
          <a:p>
            <a:endParaRPr lang="ru-RU" sz="2000" dirty="0"/>
          </a:p>
          <a:p>
            <a:endParaRPr lang="ru-RU" sz="2000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1055330" y="44624"/>
            <a:ext cx="697305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/>
              <a:t>Формирование критической массы онлайн сообщества Виртуального </a:t>
            </a:r>
            <a:r>
              <a:rPr lang="ru-RU" sz="2000" dirty="0"/>
              <a:t>Сколково</a:t>
            </a:r>
            <a:r>
              <a:rPr lang="ru-RU" sz="20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435430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Заголовок 1"/>
          <p:cNvSpPr txBox="1">
            <a:spLocks/>
          </p:cNvSpPr>
          <p:nvPr/>
        </p:nvSpPr>
        <p:spPr bwMode="auto">
          <a:xfrm>
            <a:off x="1055688" y="44450"/>
            <a:ext cx="6972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Текущий вид онлайн сообщества Виртуальное Сколково </a:t>
            </a: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/>
          <a:srcRect l="21646" t="9389" r="22531" b="5316"/>
          <a:stretch>
            <a:fillRect/>
          </a:stretch>
        </p:blipFill>
        <p:spPr bwMode="auto">
          <a:xfrm>
            <a:off x="1168400" y="765175"/>
            <a:ext cx="6807200" cy="584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7363" y="981075"/>
            <a:ext cx="8169275" cy="549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78" name="Заголовок 1"/>
          <p:cNvSpPr txBox="1">
            <a:spLocks/>
          </p:cNvSpPr>
          <p:nvPr/>
        </p:nvSpPr>
        <p:spPr bwMode="auto">
          <a:xfrm>
            <a:off x="1055688" y="44450"/>
            <a:ext cx="6972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>
                <a:latin typeface="Calibri" pitchFamily="34" charset="0"/>
              </a:rPr>
              <a:t>Пример профессиональной ассоциации  в сообществе Виртуальное Сколково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YyMfb2D02nAPPclaUi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B2OWOzA0KuEUzuIZ3T7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B2OWOzA0KuEUzuIZ3T7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B2OWOzA0KuEUzuIZ3T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B2OWOzA0KuEUzuIZ3T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21</TotalTime>
  <Words>1637</Words>
  <Application>Microsoft Office PowerPoint</Application>
  <PresentationFormat>Экран (4:3)</PresentationFormat>
  <Paragraphs>172</Paragraphs>
  <Slides>1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22" baseType="lpstr">
      <vt:lpstr>Тема Office</vt:lpstr>
      <vt:lpstr>1_Blank</vt:lpstr>
      <vt:lpstr>think-cell Slide</vt:lpstr>
      <vt:lpstr>Объект упаковщика для оболочки</vt:lpstr>
      <vt:lpstr>Онлайн сообщество «Виртуальное Сколково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ли программы «Виртуальное Сколково»</vt:lpstr>
      <vt:lpstr>Презентация PowerPoint</vt:lpstr>
      <vt:lpstr>Презентация PowerPoint</vt:lpstr>
      <vt:lpstr>Презентация PowerPoint</vt:lpstr>
      <vt:lpstr>Презентация PowerPoint</vt:lpstr>
      <vt:lpstr>Сколковопедия – online сервис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бильная версия Виртуальное Сколково</dc:title>
  <dc:creator>Krasnov Fedor</dc:creator>
  <cp:lastModifiedBy>Krasnov Fedor</cp:lastModifiedBy>
  <cp:revision>126</cp:revision>
  <dcterms:created xsi:type="dcterms:W3CDTF">2012-05-17T14:02:35Z</dcterms:created>
  <dcterms:modified xsi:type="dcterms:W3CDTF">2012-06-21T13:29:36Z</dcterms:modified>
</cp:coreProperties>
</file>